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6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DFC9C-291F-3632-2545-F03CCC236B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" name="think-cell data - do not delete" hidden="1">
            <a:extLst>
              <a:ext uri="{FF2B5EF4-FFF2-40B4-BE49-F238E27FC236}">
                <a16:creationId xmlns:a16="http://schemas.microsoft.com/office/drawing/2014/main" id="{C1B9A467-F899-FA3E-A710-195AF779FB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B9A467-F899-FA3E-A710-195AF779F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E47D3A-7B95-9939-1833-C4A32118F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2F9F5D-0EAD-248B-E049-63A4C4B9C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332CAE-50F4-012C-1814-323607F1A38F}"/>
              </a:ext>
            </a:extLst>
          </p:cNvPr>
          <p:cNvGrpSpPr/>
          <p:nvPr/>
        </p:nvGrpSpPr>
        <p:grpSpPr>
          <a:xfrm>
            <a:off x="4013383" y="1638220"/>
            <a:ext cx="4165235" cy="4158523"/>
            <a:chOff x="-3570288" y="4352925"/>
            <a:chExt cx="2955925" cy="2951163"/>
          </a:xfrm>
        </p:grpSpPr>
        <p:sp>
          <p:nvSpPr>
            <p:cNvPr id="6" name="Freeform 69">
              <a:extLst>
                <a:ext uri="{FF2B5EF4-FFF2-40B4-BE49-F238E27FC236}">
                  <a16:creationId xmlns:a16="http://schemas.microsoft.com/office/drawing/2014/main" id="{CEA1547E-1F52-7716-51E8-241ACABA3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9850" y="4413250"/>
              <a:ext cx="1035050" cy="615950"/>
            </a:xfrm>
            <a:custGeom>
              <a:avLst/>
              <a:gdLst>
                <a:gd name="T0" fmla="*/ 201 w 276"/>
                <a:gd name="T1" fmla="*/ 164 h 164"/>
                <a:gd name="T2" fmla="*/ 223 w 276"/>
                <a:gd name="T3" fmla="*/ 151 h 164"/>
                <a:gd name="T4" fmla="*/ 274 w 276"/>
                <a:gd name="T5" fmla="*/ 46 h 164"/>
                <a:gd name="T6" fmla="*/ 274 w 276"/>
                <a:gd name="T7" fmla="*/ 31 h 164"/>
                <a:gd name="T8" fmla="*/ 265 w 276"/>
                <a:gd name="T9" fmla="*/ 22 h 164"/>
                <a:gd name="T10" fmla="*/ 138 w 276"/>
                <a:gd name="T11" fmla="*/ 0 h 164"/>
                <a:gd name="T12" fmla="*/ 12 w 276"/>
                <a:gd name="T13" fmla="*/ 22 h 164"/>
                <a:gd name="T14" fmla="*/ 2 w 276"/>
                <a:gd name="T15" fmla="*/ 31 h 164"/>
                <a:gd name="T16" fmla="*/ 3 w 276"/>
                <a:gd name="T17" fmla="*/ 46 h 164"/>
                <a:gd name="T18" fmla="*/ 53 w 276"/>
                <a:gd name="T19" fmla="*/ 151 h 164"/>
                <a:gd name="T20" fmla="*/ 76 w 276"/>
                <a:gd name="T21" fmla="*/ 164 h 164"/>
                <a:gd name="T22" fmla="*/ 83 w 276"/>
                <a:gd name="T23" fmla="*/ 163 h 164"/>
                <a:gd name="T24" fmla="*/ 138 w 276"/>
                <a:gd name="T25" fmla="*/ 156 h 164"/>
                <a:gd name="T26" fmla="*/ 194 w 276"/>
                <a:gd name="T27" fmla="*/ 163 h 164"/>
                <a:gd name="T28" fmla="*/ 201 w 276"/>
                <a:gd name="T2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6" h="164">
                  <a:moveTo>
                    <a:pt x="201" y="164"/>
                  </a:moveTo>
                  <a:cubicBezTo>
                    <a:pt x="211" y="164"/>
                    <a:pt x="220" y="159"/>
                    <a:pt x="223" y="151"/>
                  </a:cubicBezTo>
                  <a:cubicBezTo>
                    <a:pt x="274" y="46"/>
                    <a:pt x="274" y="46"/>
                    <a:pt x="274" y="46"/>
                  </a:cubicBezTo>
                  <a:cubicBezTo>
                    <a:pt x="276" y="42"/>
                    <a:pt x="276" y="36"/>
                    <a:pt x="274" y="31"/>
                  </a:cubicBezTo>
                  <a:cubicBezTo>
                    <a:pt x="273" y="27"/>
                    <a:pt x="269" y="24"/>
                    <a:pt x="265" y="22"/>
                  </a:cubicBezTo>
                  <a:cubicBezTo>
                    <a:pt x="224" y="8"/>
                    <a:pt x="182" y="0"/>
                    <a:pt x="138" y="0"/>
                  </a:cubicBezTo>
                  <a:cubicBezTo>
                    <a:pt x="95" y="0"/>
                    <a:pt x="53" y="8"/>
                    <a:pt x="12" y="22"/>
                  </a:cubicBezTo>
                  <a:cubicBezTo>
                    <a:pt x="8" y="24"/>
                    <a:pt x="4" y="27"/>
                    <a:pt x="2" y="31"/>
                  </a:cubicBezTo>
                  <a:cubicBezTo>
                    <a:pt x="0" y="36"/>
                    <a:pt x="1" y="42"/>
                    <a:pt x="3" y="46"/>
                  </a:cubicBezTo>
                  <a:cubicBezTo>
                    <a:pt x="53" y="151"/>
                    <a:pt x="53" y="151"/>
                    <a:pt x="53" y="151"/>
                  </a:cubicBezTo>
                  <a:cubicBezTo>
                    <a:pt x="57" y="159"/>
                    <a:pt x="66" y="164"/>
                    <a:pt x="76" y="164"/>
                  </a:cubicBezTo>
                  <a:cubicBezTo>
                    <a:pt x="78" y="164"/>
                    <a:pt x="81" y="164"/>
                    <a:pt x="83" y="163"/>
                  </a:cubicBezTo>
                  <a:cubicBezTo>
                    <a:pt x="101" y="159"/>
                    <a:pt x="120" y="156"/>
                    <a:pt x="138" y="156"/>
                  </a:cubicBezTo>
                  <a:cubicBezTo>
                    <a:pt x="157" y="156"/>
                    <a:pt x="176" y="159"/>
                    <a:pt x="194" y="163"/>
                  </a:cubicBezTo>
                  <a:cubicBezTo>
                    <a:pt x="196" y="164"/>
                    <a:pt x="198" y="164"/>
                    <a:pt x="201" y="16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" name="Freeform 70">
              <a:extLst>
                <a:ext uri="{FF2B5EF4-FFF2-40B4-BE49-F238E27FC236}">
                  <a16:creationId xmlns:a16="http://schemas.microsoft.com/office/drawing/2014/main" id="{A0697969-F394-3101-CCBF-6E76CA835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1550" y="5613400"/>
              <a:ext cx="701675" cy="1006475"/>
            </a:xfrm>
            <a:custGeom>
              <a:avLst/>
              <a:gdLst>
                <a:gd name="T0" fmla="*/ 181 w 187"/>
                <a:gd name="T1" fmla="*/ 160 h 268"/>
                <a:gd name="T2" fmla="*/ 156 w 187"/>
                <a:gd name="T3" fmla="*/ 58 h 268"/>
                <a:gd name="T4" fmla="*/ 157 w 187"/>
                <a:gd name="T5" fmla="*/ 41 h 268"/>
                <a:gd name="T6" fmla="*/ 138 w 187"/>
                <a:gd name="T7" fmla="*/ 26 h 268"/>
                <a:gd name="T8" fmla="*/ 25 w 187"/>
                <a:gd name="T9" fmla="*/ 0 h 268"/>
                <a:gd name="T10" fmla="*/ 20 w 187"/>
                <a:gd name="T11" fmla="*/ 0 h 268"/>
                <a:gd name="T12" fmla="*/ 3 w 187"/>
                <a:gd name="T13" fmla="*/ 15 h 268"/>
                <a:gd name="T14" fmla="*/ 0 w 187"/>
                <a:gd name="T15" fmla="*/ 58 h 268"/>
                <a:gd name="T16" fmla="*/ 59 w 187"/>
                <a:gd name="T17" fmla="*/ 260 h 268"/>
                <a:gd name="T18" fmla="*/ 73 w 187"/>
                <a:gd name="T19" fmla="*/ 268 h 268"/>
                <a:gd name="T20" fmla="*/ 73 w 187"/>
                <a:gd name="T21" fmla="*/ 268 h 268"/>
                <a:gd name="T22" fmla="*/ 85 w 187"/>
                <a:gd name="T23" fmla="*/ 264 h 268"/>
                <a:gd name="T24" fmla="*/ 176 w 187"/>
                <a:gd name="T25" fmla="*/ 192 h 268"/>
                <a:gd name="T26" fmla="*/ 181 w 187"/>
                <a:gd name="T27" fmla="*/ 16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7" h="268">
                  <a:moveTo>
                    <a:pt x="181" y="160"/>
                  </a:moveTo>
                  <a:cubicBezTo>
                    <a:pt x="165" y="129"/>
                    <a:pt x="156" y="94"/>
                    <a:pt x="156" y="58"/>
                  </a:cubicBezTo>
                  <a:cubicBezTo>
                    <a:pt x="156" y="52"/>
                    <a:pt x="157" y="46"/>
                    <a:pt x="157" y="41"/>
                  </a:cubicBezTo>
                  <a:cubicBezTo>
                    <a:pt x="157" y="36"/>
                    <a:pt x="150" y="29"/>
                    <a:pt x="138" y="2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2" y="0"/>
                    <a:pt x="20" y="0"/>
                  </a:cubicBezTo>
                  <a:cubicBezTo>
                    <a:pt x="11" y="0"/>
                    <a:pt x="4" y="6"/>
                    <a:pt x="3" y="15"/>
                  </a:cubicBezTo>
                  <a:cubicBezTo>
                    <a:pt x="1" y="29"/>
                    <a:pt x="0" y="44"/>
                    <a:pt x="0" y="58"/>
                  </a:cubicBezTo>
                  <a:cubicBezTo>
                    <a:pt x="0" y="130"/>
                    <a:pt x="21" y="200"/>
                    <a:pt x="59" y="260"/>
                  </a:cubicBezTo>
                  <a:cubicBezTo>
                    <a:pt x="62" y="265"/>
                    <a:pt x="68" y="268"/>
                    <a:pt x="73" y="268"/>
                  </a:cubicBezTo>
                  <a:cubicBezTo>
                    <a:pt x="73" y="268"/>
                    <a:pt x="73" y="268"/>
                    <a:pt x="73" y="268"/>
                  </a:cubicBezTo>
                  <a:cubicBezTo>
                    <a:pt x="78" y="268"/>
                    <a:pt x="82" y="267"/>
                    <a:pt x="85" y="264"/>
                  </a:cubicBezTo>
                  <a:cubicBezTo>
                    <a:pt x="176" y="192"/>
                    <a:pt x="176" y="192"/>
                    <a:pt x="176" y="192"/>
                  </a:cubicBezTo>
                  <a:cubicBezTo>
                    <a:pt x="185" y="185"/>
                    <a:pt x="187" y="171"/>
                    <a:pt x="181" y="16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" name="Freeform 71">
              <a:extLst>
                <a:ext uri="{FF2B5EF4-FFF2-40B4-BE49-F238E27FC236}">
                  <a16:creationId xmlns:a16="http://schemas.microsoft.com/office/drawing/2014/main" id="{500B2C5C-4A2E-AB16-C9F7-A21FAC977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71600" y="5613400"/>
              <a:ext cx="696913" cy="1006475"/>
            </a:xfrm>
            <a:custGeom>
              <a:avLst/>
              <a:gdLst>
                <a:gd name="T0" fmla="*/ 167 w 186"/>
                <a:gd name="T1" fmla="*/ 0 h 268"/>
                <a:gd name="T2" fmla="*/ 162 w 186"/>
                <a:gd name="T3" fmla="*/ 0 h 268"/>
                <a:gd name="T4" fmla="*/ 49 w 186"/>
                <a:gd name="T5" fmla="*/ 26 h 268"/>
                <a:gd name="T6" fmla="*/ 30 w 186"/>
                <a:gd name="T7" fmla="*/ 41 h 268"/>
                <a:gd name="T8" fmla="*/ 30 w 186"/>
                <a:gd name="T9" fmla="*/ 58 h 268"/>
                <a:gd name="T10" fmla="*/ 6 w 186"/>
                <a:gd name="T11" fmla="*/ 160 h 268"/>
                <a:gd name="T12" fmla="*/ 11 w 186"/>
                <a:gd name="T13" fmla="*/ 192 h 268"/>
                <a:gd name="T14" fmla="*/ 102 w 186"/>
                <a:gd name="T15" fmla="*/ 264 h 268"/>
                <a:gd name="T16" fmla="*/ 113 w 186"/>
                <a:gd name="T17" fmla="*/ 268 h 268"/>
                <a:gd name="T18" fmla="*/ 128 w 186"/>
                <a:gd name="T19" fmla="*/ 260 h 268"/>
                <a:gd name="T20" fmla="*/ 186 w 186"/>
                <a:gd name="T21" fmla="*/ 58 h 268"/>
                <a:gd name="T22" fmla="*/ 184 w 186"/>
                <a:gd name="T23" fmla="*/ 15 h 268"/>
                <a:gd name="T24" fmla="*/ 167 w 186"/>
                <a:gd name="T25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" h="268">
                  <a:moveTo>
                    <a:pt x="167" y="0"/>
                  </a:moveTo>
                  <a:cubicBezTo>
                    <a:pt x="165" y="0"/>
                    <a:pt x="164" y="0"/>
                    <a:pt x="162" y="0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37" y="29"/>
                    <a:pt x="29" y="36"/>
                    <a:pt x="30" y="41"/>
                  </a:cubicBezTo>
                  <a:cubicBezTo>
                    <a:pt x="30" y="46"/>
                    <a:pt x="30" y="52"/>
                    <a:pt x="30" y="58"/>
                  </a:cubicBezTo>
                  <a:cubicBezTo>
                    <a:pt x="30" y="94"/>
                    <a:pt x="22" y="129"/>
                    <a:pt x="6" y="160"/>
                  </a:cubicBezTo>
                  <a:cubicBezTo>
                    <a:pt x="0" y="171"/>
                    <a:pt x="2" y="185"/>
                    <a:pt x="11" y="192"/>
                  </a:cubicBezTo>
                  <a:cubicBezTo>
                    <a:pt x="102" y="264"/>
                    <a:pt x="102" y="264"/>
                    <a:pt x="102" y="264"/>
                  </a:cubicBezTo>
                  <a:cubicBezTo>
                    <a:pt x="105" y="267"/>
                    <a:pt x="109" y="268"/>
                    <a:pt x="113" y="268"/>
                  </a:cubicBezTo>
                  <a:cubicBezTo>
                    <a:pt x="119" y="268"/>
                    <a:pt x="125" y="265"/>
                    <a:pt x="128" y="260"/>
                  </a:cubicBezTo>
                  <a:cubicBezTo>
                    <a:pt x="166" y="200"/>
                    <a:pt x="186" y="130"/>
                    <a:pt x="186" y="58"/>
                  </a:cubicBezTo>
                  <a:cubicBezTo>
                    <a:pt x="186" y="44"/>
                    <a:pt x="186" y="29"/>
                    <a:pt x="184" y="15"/>
                  </a:cubicBezTo>
                  <a:cubicBezTo>
                    <a:pt x="183" y="6"/>
                    <a:pt x="176" y="0"/>
                    <a:pt x="16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" name="Freeform 72">
              <a:extLst>
                <a:ext uri="{FF2B5EF4-FFF2-40B4-BE49-F238E27FC236}">
                  <a16:creationId xmlns:a16="http://schemas.microsoft.com/office/drawing/2014/main" id="{BDBF671F-012F-888F-3DAF-7B5AE425E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41475" y="4619625"/>
              <a:ext cx="896938" cy="935038"/>
            </a:xfrm>
            <a:custGeom>
              <a:avLst/>
              <a:gdLst>
                <a:gd name="T0" fmla="*/ 14 w 239"/>
                <a:gd name="T1" fmla="*/ 146 h 249"/>
                <a:gd name="T2" fmla="*/ 83 w 239"/>
                <a:gd name="T3" fmla="*/ 233 h 249"/>
                <a:gd name="T4" fmla="*/ 106 w 239"/>
                <a:gd name="T5" fmla="*/ 249 h 249"/>
                <a:gd name="T6" fmla="*/ 106 w 239"/>
                <a:gd name="T7" fmla="*/ 249 h 249"/>
                <a:gd name="T8" fmla="*/ 111 w 239"/>
                <a:gd name="T9" fmla="*/ 248 h 249"/>
                <a:gd name="T10" fmla="*/ 224 w 239"/>
                <a:gd name="T11" fmla="*/ 222 h 249"/>
                <a:gd name="T12" fmla="*/ 237 w 239"/>
                <a:gd name="T13" fmla="*/ 213 h 249"/>
                <a:gd name="T14" fmla="*/ 238 w 239"/>
                <a:gd name="T15" fmla="*/ 200 h 249"/>
                <a:gd name="T16" fmla="*/ 80 w 239"/>
                <a:gd name="T17" fmla="*/ 3 h 249"/>
                <a:gd name="T18" fmla="*/ 72 w 239"/>
                <a:gd name="T19" fmla="*/ 0 h 249"/>
                <a:gd name="T20" fmla="*/ 55 w 239"/>
                <a:gd name="T21" fmla="*/ 11 h 249"/>
                <a:gd name="T22" fmla="*/ 5 w 239"/>
                <a:gd name="T23" fmla="*/ 115 h 249"/>
                <a:gd name="T24" fmla="*/ 14 w 239"/>
                <a:gd name="T25" fmla="*/ 14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9" h="249">
                  <a:moveTo>
                    <a:pt x="14" y="146"/>
                  </a:moveTo>
                  <a:cubicBezTo>
                    <a:pt x="44" y="169"/>
                    <a:pt x="68" y="198"/>
                    <a:pt x="83" y="233"/>
                  </a:cubicBezTo>
                  <a:cubicBezTo>
                    <a:pt x="87" y="242"/>
                    <a:pt x="97" y="249"/>
                    <a:pt x="106" y="249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8" y="249"/>
                    <a:pt x="109" y="248"/>
                    <a:pt x="111" y="248"/>
                  </a:cubicBezTo>
                  <a:cubicBezTo>
                    <a:pt x="224" y="222"/>
                    <a:pt x="224" y="222"/>
                    <a:pt x="224" y="222"/>
                  </a:cubicBezTo>
                  <a:cubicBezTo>
                    <a:pt x="230" y="221"/>
                    <a:pt x="234" y="218"/>
                    <a:pt x="237" y="213"/>
                  </a:cubicBezTo>
                  <a:cubicBezTo>
                    <a:pt x="239" y="209"/>
                    <a:pt x="239" y="204"/>
                    <a:pt x="238" y="200"/>
                  </a:cubicBezTo>
                  <a:cubicBezTo>
                    <a:pt x="209" y="118"/>
                    <a:pt x="154" y="48"/>
                    <a:pt x="80" y="3"/>
                  </a:cubicBezTo>
                  <a:cubicBezTo>
                    <a:pt x="78" y="1"/>
                    <a:pt x="75" y="0"/>
                    <a:pt x="72" y="0"/>
                  </a:cubicBezTo>
                  <a:cubicBezTo>
                    <a:pt x="65" y="0"/>
                    <a:pt x="59" y="4"/>
                    <a:pt x="55" y="11"/>
                  </a:cubicBezTo>
                  <a:cubicBezTo>
                    <a:pt x="5" y="115"/>
                    <a:pt x="5" y="115"/>
                    <a:pt x="5" y="115"/>
                  </a:cubicBezTo>
                  <a:cubicBezTo>
                    <a:pt x="0" y="125"/>
                    <a:pt x="4" y="139"/>
                    <a:pt x="14" y="14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73">
              <a:extLst>
                <a:ext uri="{FF2B5EF4-FFF2-40B4-BE49-F238E27FC236}">
                  <a16:creationId xmlns:a16="http://schemas.microsoft.com/office/drawing/2014/main" id="{5011041C-C30E-4E4D-38C6-B04EE23B7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5350" y="4619625"/>
              <a:ext cx="896938" cy="938213"/>
            </a:xfrm>
            <a:custGeom>
              <a:avLst/>
              <a:gdLst>
                <a:gd name="T0" fmla="*/ 15 w 239"/>
                <a:gd name="T1" fmla="*/ 222 h 250"/>
                <a:gd name="T2" fmla="*/ 128 w 239"/>
                <a:gd name="T3" fmla="*/ 248 h 250"/>
                <a:gd name="T4" fmla="*/ 156 w 239"/>
                <a:gd name="T5" fmla="*/ 233 h 250"/>
                <a:gd name="T6" fmla="*/ 225 w 239"/>
                <a:gd name="T7" fmla="*/ 146 h 250"/>
                <a:gd name="T8" fmla="*/ 234 w 239"/>
                <a:gd name="T9" fmla="*/ 115 h 250"/>
                <a:gd name="T10" fmla="*/ 183 w 239"/>
                <a:gd name="T11" fmla="*/ 11 h 250"/>
                <a:gd name="T12" fmla="*/ 167 w 239"/>
                <a:gd name="T13" fmla="*/ 0 h 250"/>
                <a:gd name="T14" fmla="*/ 158 w 239"/>
                <a:gd name="T15" fmla="*/ 3 h 250"/>
                <a:gd name="T16" fmla="*/ 1 w 239"/>
                <a:gd name="T17" fmla="*/ 200 h 250"/>
                <a:gd name="T18" fmla="*/ 2 w 239"/>
                <a:gd name="T19" fmla="*/ 213 h 250"/>
                <a:gd name="T20" fmla="*/ 15 w 239"/>
                <a:gd name="T21" fmla="*/ 222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9" h="250">
                  <a:moveTo>
                    <a:pt x="15" y="222"/>
                  </a:moveTo>
                  <a:cubicBezTo>
                    <a:pt x="128" y="248"/>
                    <a:pt x="128" y="248"/>
                    <a:pt x="128" y="248"/>
                  </a:cubicBezTo>
                  <a:cubicBezTo>
                    <a:pt x="139" y="250"/>
                    <a:pt x="151" y="243"/>
                    <a:pt x="156" y="233"/>
                  </a:cubicBezTo>
                  <a:cubicBezTo>
                    <a:pt x="171" y="198"/>
                    <a:pt x="195" y="169"/>
                    <a:pt x="225" y="146"/>
                  </a:cubicBezTo>
                  <a:cubicBezTo>
                    <a:pt x="235" y="139"/>
                    <a:pt x="239" y="125"/>
                    <a:pt x="234" y="115"/>
                  </a:cubicBezTo>
                  <a:cubicBezTo>
                    <a:pt x="183" y="11"/>
                    <a:pt x="183" y="11"/>
                    <a:pt x="183" y="11"/>
                  </a:cubicBezTo>
                  <a:cubicBezTo>
                    <a:pt x="180" y="4"/>
                    <a:pt x="174" y="0"/>
                    <a:pt x="167" y="0"/>
                  </a:cubicBezTo>
                  <a:cubicBezTo>
                    <a:pt x="164" y="0"/>
                    <a:pt x="161" y="1"/>
                    <a:pt x="158" y="3"/>
                  </a:cubicBezTo>
                  <a:cubicBezTo>
                    <a:pt x="85" y="48"/>
                    <a:pt x="29" y="118"/>
                    <a:pt x="1" y="200"/>
                  </a:cubicBezTo>
                  <a:cubicBezTo>
                    <a:pt x="0" y="204"/>
                    <a:pt x="0" y="209"/>
                    <a:pt x="2" y="213"/>
                  </a:cubicBezTo>
                  <a:cubicBezTo>
                    <a:pt x="5" y="218"/>
                    <a:pt x="9" y="221"/>
                    <a:pt x="15" y="22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74">
              <a:extLst>
                <a:ext uri="{FF2B5EF4-FFF2-40B4-BE49-F238E27FC236}">
                  <a16:creationId xmlns:a16="http://schemas.microsoft.com/office/drawing/2014/main" id="{65A81F9F-7712-0FE3-D32C-FE8A44452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9775" y="6443663"/>
              <a:ext cx="946150" cy="803275"/>
            </a:xfrm>
            <a:custGeom>
              <a:avLst/>
              <a:gdLst>
                <a:gd name="T0" fmla="*/ 244 w 252"/>
                <a:gd name="T1" fmla="*/ 77 h 214"/>
                <a:gd name="T2" fmla="*/ 153 w 252"/>
                <a:gd name="T3" fmla="*/ 5 h 214"/>
                <a:gd name="T4" fmla="*/ 139 w 252"/>
                <a:gd name="T5" fmla="*/ 0 h 214"/>
                <a:gd name="T6" fmla="*/ 122 w 252"/>
                <a:gd name="T7" fmla="*/ 7 h 214"/>
                <a:gd name="T8" fmla="*/ 22 w 252"/>
                <a:gd name="T9" fmla="*/ 55 h 214"/>
                <a:gd name="T10" fmla="*/ 0 w 252"/>
                <a:gd name="T11" fmla="*/ 79 h 214"/>
                <a:gd name="T12" fmla="*/ 0 w 252"/>
                <a:gd name="T13" fmla="*/ 195 h 214"/>
                <a:gd name="T14" fmla="*/ 19 w 252"/>
                <a:gd name="T15" fmla="*/ 213 h 214"/>
                <a:gd name="T16" fmla="*/ 246 w 252"/>
                <a:gd name="T17" fmla="*/ 103 h 214"/>
                <a:gd name="T18" fmla="*/ 251 w 252"/>
                <a:gd name="T19" fmla="*/ 91 h 214"/>
                <a:gd name="T20" fmla="*/ 244 w 252"/>
                <a:gd name="T21" fmla="*/ 7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2" h="214">
                  <a:moveTo>
                    <a:pt x="244" y="77"/>
                  </a:moveTo>
                  <a:cubicBezTo>
                    <a:pt x="153" y="5"/>
                    <a:pt x="153" y="5"/>
                    <a:pt x="153" y="5"/>
                  </a:cubicBezTo>
                  <a:cubicBezTo>
                    <a:pt x="150" y="2"/>
                    <a:pt x="145" y="0"/>
                    <a:pt x="139" y="0"/>
                  </a:cubicBezTo>
                  <a:cubicBezTo>
                    <a:pt x="133" y="0"/>
                    <a:pt x="126" y="3"/>
                    <a:pt x="122" y="7"/>
                  </a:cubicBezTo>
                  <a:cubicBezTo>
                    <a:pt x="93" y="31"/>
                    <a:pt x="58" y="48"/>
                    <a:pt x="22" y="55"/>
                  </a:cubicBezTo>
                  <a:cubicBezTo>
                    <a:pt x="10" y="57"/>
                    <a:pt x="0" y="68"/>
                    <a:pt x="0" y="79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06"/>
                    <a:pt x="9" y="214"/>
                    <a:pt x="19" y="213"/>
                  </a:cubicBezTo>
                  <a:cubicBezTo>
                    <a:pt x="105" y="204"/>
                    <a:pt x="185" y="165"/>
                    <a:pt x="246" y="103"/>
                  </a:cubicBezTo>
                  <a:cubicBezTo>
                    <a:pt x="250" y="100"/>
                    <a:pt x="252" y="95"/>
                    <a:pt x="251" y="91"/>
                  </a:cubicBezTo>
                  <a:cubicBezTo>
                    <a:pt x="251" y="86"/>
                    <a:pt x="248" y="81"/>
                    <a:pt x="244" y="7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75">
              <a:extLst>
                <a:ext uri="{FF2B5EF4-FFF2-40B4-BE49-F238E27FC236}">
                  <a16:creationId xmlns:a16="http://schemas.microsoft.com/office/drawing/2014/main" id="{1615D301-E013-8704-FA93-E6BFA9457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16263" y="6443663"/>
              <a:ext cx="941388" cy="800100"/>
            </a:xfrm>
            <a:custGeom>
              <a:avLst/>
              <a:gdLst>
                <a:gd name="T0" fmla="*/ 230 w 251"/>
                <a:gd name="T1" fmla="*/ 55 h 213"/>
                <a:gd name="T2" fmla="*/ 130 w 251"/>
                <a:gd name="T3" fmla="*/ 7 h 213"/>
                <a:gd name="T4" fmla="*/ 112 w 251"/>
                <a:gd name="T5" fmla="*/ 0 h 213"/>
                <a:gd name="T6" fmla="*/ 98 w 251"/>
                <a:gd name="T7" fmla="*/ 5 h 213"/>
                <a:gd name="T8" fmla="*/ 8 w 251"/>
                <a:gd name="T9" fmla="*/ 77 h 213"/>
                <a:gd name="T10" fmla="*/ 0 w 251"/>
                <a:gd name="T11" fmla="*/ 91 h 213"/>
                <a:gd name="T12" fmla="*/ 5 w 251"/>
                <a:gd name="T13" fmla="*/ 103 h 213"/>
                <a:gd name="T14" fmla="*/ 232 w 251"/>
                <a:gd name="T15" fmla="*/ 213 h 213"/>
                <a:gd name="T16" fmla="*/ 234 w 251"/>
                <a:gd name="T17" fmla="*/ 213 h 213"/>
                <a:gd name="T18" fmla="*/ 246 w 251"/>
                <a:gd name="T19" fmla="*/ 208 h 213"/>
                <a:gd name="T20" fmla="*/ 251 w 251"/>
                <a:gd name="T21" fmla="*/ 195 h 213"/>
                <a:gd name="T22" fmla="*/ 251 w 251"/>
                <a:gd name="T23" fmla="*/ 79 h 213"/>
                <a:gd name="T24" fmla="*/ 230 w 251"/>
                <a:gd name="T25" fmla="*/ 5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213">
                  <a:moveTo>
                    <a:pt x="230" y="55"/>
                  </a:moveTo>
                  <a:cubicBezTo>
                    <a:pt x="193" y="48"/>
                    <a:pt x="159" y="31"/>
                    <a:pt x="130" y="7"/>
                  </a:cubicBezTo>
                  <a:cubicBezTo>
                    <a:pt x="125" y="3"/>
                    <a:pt x="119" y="0"/>
                    <a:pt x="112" y="0"/>
                  </a:cubicBezTo>
                  <a:cubicBezTo>
                    <a:pt x="107" y="0"/>
                    <a:pt x="102" y="2"/>
                    <a:pt x="98" y="5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3" y="81"/>
                    <a:pt x="1" y="86"/>
                    <a:pt x="0" y="91"/>
                  </a:cubicBezTo>
                  <a:cubicBezTo>
                    <a:pt x="0" y="95"/>
                    <a:pt x="2" y="100"/>
                    <a:pt x="5" y="103"/>
                  </a:cubicBezTo>
                  <a:cubicBezTo>
                    <a:pt x="66" y="165"/>
                    <a:pt x="147" y="204"/>
                    <a:pt x="232" y="213"/>
                  </a:cubicBezTo>
                  <a:cubicBezTo>
                    <a:pt x="233" y="213"/>
                    <a:pt x="234" y="213"/>
                    <a:pt x="234" y="213"/>
                  </a:cubicBezTo>
                  <a:cubicBezTo>
                    <a:pt x="239" y="213"/>
                    <a:pt x="243" y="211"/>
                    <a:pt x="246" y="208"/>
                  </a:cubicBezTo>
                  <a:cubicBezTo>
                    <a:pt x="250" y="205"/>
                    <a:pt x="251" y="200"/>
                    <a:pt x="251" y="195"/>
                  </a:cubicBezTo>
                  <a:cubicBezTo>
                    <a:pt x="251" y="79"/>
                    <a:pt x="251" y="79"/>
                    <a:pt x="251" y="79"/>
                  </a:cubicBezTo>
                  <a:cubicBezTo>
                    <a:pt x="251" y="68"/>
                    <a:pt x="242" y="57"/>
                    <a:pt x="230" y="5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20">
              <a:extLst>
                <a:ext uri="{FF2B5EF4-FFF2-40B4-BE49-F238E27FC236}">
                  <a16:creationId xmlns:a16="http://schemas.microsoft.com/office/drawing/2014/main" id="{83CCBC60-7F86-6E8E-2A07-ED09CB5886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70175" y="4352925"/>
              <a:ext cx="1158875" cy="735013"/>
            </a:xfrm>
            <a:custGeom>
              <a:avLst/>
              <a:gdLst>
                <a:gd name="T0" fmla="*/ 305 w 309"/>
                <a:gd name="T1" fmla="*/ 41 h 196"/>
                <a:gd name="T2" fmla="*/ 286 w 309"/>
                <a:gd name="T3" fmla="*/ 23 h 196"/>
                <a:gd name="T4" fmla="*/ 154 w 309"/>
                <a:gd name="T5" fmla="*/ 0 h 196"/>
                <a:gd name="T6" fmla="*/ 23 w 309"/>
                <a:gd name="T7" fmla="*/ 23 h 196"/>
                <a:gd name="T8" fmla="*/ 4 w 309"/>
                <a:gd name="T9" fmla="*/ 41 h 196"/>
                <a:gd name="T10" fmla="*/ 5 w 309"/>
                <a:gd name="T11" fmla="*/ 69 h 196"/>
                <a:gd name="T12" fmla="*/ 55 w 309"/>
                <a:gd name="T13" fmla="*/ 174 h 196"/>
                <a:gd name="T14" fmla="*/ 92 w 309"/>
                <a:gd name="T15" fmla="*/ 196 h 196"/>
                <a:gd name="T16" fmla="*/ 103 w 309"/>
                <a:gd name="T17" fmla="*/ 195 h 196"/>
                <a:gd name="T18" fmla="*/ 206 w 309"/>
                <a:gd name="T19" fmla="*/ 195 h 196"/>
                <a:gd name="T20" fmla="*/ 217 w 309"/>
                <a:gd name="T21" fmla="*/ 196 h 196"/>
                <a:gd name="T22" fmla="*/ 254 w 309"/>
                <a:gd name="T23" fmla="*/ 174 h 196"/>
                <a:gd name="T24" fmla="*/ 304 w 309"/>
                <a:gd name="T25" fmla="*/ 69 h 196"/>
                <a:gd name="T26" fmla="*/ 305 w 309"/>
                <a:gd name="T27" fmla="*/ 41 h 196"/>
                <a:gd name="T28" fmla="*/ 217 w 309"/>
                <a:gd name="T29" fmla="*/ 180 h 196"/>
                <a:gd name="T30" fmla="*/ 210 w 309"/>
                <a:gd name="T31" fmla="*/ 179 h 196"/>
                <a:gd name="T32" fmla="*/ 154 w 309"/>
                <a:gd name="T33" fmla="*/ 172 h 196"/>
                <a:gd name="T34" fmla="*/ 99 w 309"/>
                <a:gd name="T35" fmla="*/ 179 h 196"/>
                <a:gd name="T36" fmla="*/ 92 w 309"/>
                <a:gd name="T37" fmla="*/ 180 h 196"/>
                <a:gd name="T38" fmla="*/ 69 w 309"/>
                <a:gd name="T39" fmla="*/ 167 h 196"/>
                <a:gd name="T40" fmla="*/ 19 w 309"/>
                <a:gd name="T41" fmla="*/ 62 h 196"/>
                <a:gd name="T42" fmla="*/ 18 w 309"/>
                <a:gd name="T43" fmla="*/ 47 h 196"/>
                <a:gd name="T44" fmla="*/ 28 w 309"/>
                <a:gd name="T45" fmla="*/ 38 h 196"/>
                <a:gd name="T46" fmla="*/ 154 w 309"/>
                <a:gd name="T47" fmla="*/ 16 h 196"/>
                <a:gd name="T48" fmla="*/ 281 w 309"/>
                <a:gd name="T49" fmla="*/ 38 h 196"/>
                <a:gd name="T50" fmla="*/ 290 w 309"/>
                <a:gd name="T51" fmla="*/ 47 h 196"/>
                <a:gd name="T52" fmla="*/ 290 w 309"/>
                <a:gd name="T53" fmla="*/ 62 h 196"/>
                <a:gd name="T54" fmla="*/ 239 w 309"/>
                <a:gd name="T55" fmla="*/ 167 h 196"/>
                <a:gd name="T56" fmla="*/ 217 w 309"/>
                <a:gd name="T57" fmla="*/ 18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9" h="196">
                  <a:moveTo>
                    <a:pt x="305" y="41"/>
                  </a:moveTo>
                  <a:cubicBezTo>
                    <a:pt x="302" y="33"/>
                    <a:pt x="295" y="26"/>
                    <a:pt x="286" y="23"/>
                  </a:cubicBezTo>
                  <a:cubicBezTo>
                    <a:pt x="244" y="8"/>
                    <a:pt x="199" y="0"/>
                    <a:pt x="154" y="0"/>
                  </a:cubicBezTo>
                  <a:cubicBezTo>
                    <a:pt x="109" y="0"/>
                    <a:pt x="65" y="8"/>
                    <a:pt x="23" y="23"/>
                  </a:cubicBezTo>
                  <a:cubicBezTo>
                    <a:pt x="14" y="26"/>
                    <a:pt x="7" y="33"/>
                    <a:pt x="4" y="41"/>
                  </a:cubicBezTo>
                  <a:cubicBezTo>
                    <a:pt x="0" y="50"/>
                    <a:pt x="0" y="60"/>
                    <a:pt x="5" y="69"/>
                  </a:cubicBezTo>
                  <a:cubicBezTo>
                    <a:pt x="55" y="174"/>
                    <a:pt x="55" y="174"/>
                    <a:pt x="55" y="174"/>
                  </a:cubicBezTo>
                  <a:cubicBezTo>
                    <a:pt x="61" y="187"/>
                    <a:pt x="76" y="196"/>
                    <a:pt x="92" y="196"/>
                  </a:cubicBezTo>
                  <a:cubicBezTo>
                    <a:pt x="96" y="196"/>
                    <a:pt x="99" y="196"/>
                    <a:pt x="103" y="195"/>
                  </a:cubicBezTo>
                  <a:cubicBezTo>
                    <a:pt x="136" y="186"/>
                    <a:pt x="172" y="186"/>
                    <a:pt x="206" y="195"/>
                  </a:cubicBezTo>
                  <a:cubicBezTo>
                    <a:pt x="209" y="196"/>
                    <a:pt x="213" y="196"/>
                    <a:pt x="217" y="196"/>
                  </a:cubicBezTo>
                  <a:cubicBezTo>
                    <a:pt x="233" y="196"/>
                    <a:pt x="247" y="187"/>
                    <a:pt x="254" y="174"/>
                  </a:cubicBezTo>
                  <a:cubicBezTo>
                    <a:pt x="304" y="69"/>
                    <a:pt x="304" y="69"/>
                    <a:pt x="304" y="69"/>
                  </a:cubicBezTo>
                  <a:cubicBezTo>
                    <a:pt x="309" y="60"/>
                    <a:pt x="309" y="50"/>
                    <a:pt x="305" y="41"/>
                  </a:cubicBezTo>
                  <a:close/>
                  <a:moveTo>
                    <a:pt x="217" y="180"/>
                  </a:moveTo>
                  <a:cubicBezTo>
                    <a:pt x="214" y="180"/>
                    <a:pt x="212" y="180"/>
                    <a:pt x="210" y="179"/>
                  </a:cubicBezTo>
                  <a:cubicBezTo>
                    <a:pt x="192" y="175"/>
                    <a:pt x="173" y="172"/>
                    <a:pt x="154" y="172"/>
                  </a:cubicBezTo>
                  <a:cubicBezTo>
                    <a:pt x="136" y="172"/>
                    <a:pt x="117" y="175"/>
                    <a:pt x="99" y="179"/>
                  </a:cubicBezTo>
                  <a:cubicBezTo>
                    <a:pt x="97" y="180"/>
                    <a:pt x="94" y="180"/>
                    <a:pt x="92" y="180"/>
                  </a:cubicBezTo>
                  <a:cubicBezTo>
                    <a:pt x="82" y="180"/>
                    <a:pt x="73" y="175"/>
                    <a:pt x="69" y="167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7" y="58"/>
                    <a:pt x="16" y="52"/>
                    <a:pt x="18" y="47"/>
                  </a:cubicBezTo>
                  <a:cubicBezTo>
                    <a:pt x="20" y="43"/>
                    <a:pt x="24" y="40"/>
                    <a:pt x="28" y="38"/>
                  </a:cubicBezTo>
                  <a:cubicBezTo>
                    <a:pt x="69" y="24"/>
                    <a:pt x="111" y="16"/>
                    <a:pt x="154" y="16"/>
                  </a:cubicBezTo>
                  <a:cubicBezTo>
                    <a:pt x="198" y="16"/>
                    <a:pt x="240" y="24"/>
                    <a:pt x="281" y="38"/>
                  </a:cubicBezTo>
                  <a:cubicBezTo>
                    <a:pt x="285" y="40"/>
                    <a:pt x="289" y="43"/>
                    <a:pt x="290" y="47"/>
                  </a:cubicBezTo>
                  <a:cubicBezTo>
                    <a:pt x="292" y="52"/>
                    <a:pt x="292" y="58"/>
                    <a:pt x="290" y="62"/>
                  </a:cubicBezTo>
                  <a:cubicBezTo>
                    <a:pt x="239" y="167"/>
                    <a:pt x="239" y="167"/>
                    <a:pt x="239" y="167"/>
                  </a:cubicBezTo>
                  <a:cubicBezTo>
                    <a:pt x="236" y="175"/>
                    <a:pt x="227" y="180"/>
                    <a:pt x="217" y="18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21">
              <a:extLst>
                <a:ext uri="{FF2B5EF4-FFF2-40B4-BE49-F238E27FC236}">
                  <a16:creationId xmlns:a16="http://schemas.microsoft.com/office/drawing/2014/main" id="{845C8ED4-B255-CE27-6D0C-805D1CAC03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70288" y="5554663"/>
              <a:ext cx="828675" cy="1125538"/>
            </a:xfrm>
            <a:custGeom>
              <a:avLst/>
              <a:gdLst>
                <a:gd name="T0" fmla="*/ 211 w 221"/>
                <a:gd name="T1" fmla="*/ 169 h 300"/>
                <a:gd name="T2" fmla="*/ 188 w 221"/>
                <a:gd name="T3" fmla="*/ 74 h 300"/>
                <a:gd name="T4" fmla="*/ 189 w 221"/>
                <a:gd name="T5" fmla="*/ 58 h 300"/>
                <a:gd name="T6" fmla="*/ 158 w 221"/>
                <a:gd name="T7" fmla="*/ 26 h 300"/>
                <a:gd name="T8" fmla="*/ 44 w 221"/>
                <a:gd name="T9" fmla="*/ 0 h 300"/>
                <a:gd name="T10" fmla="*/ 36 w 221"/>
                <a:gd name="T11" fmla="*/ 0 h 300"/>
                <a:gd name="T12" fmla="*/ 3 w 221"/>
                <a:gd name="T13" fmla="*/ 29 h 300"/>
                <a:gd name="T14" fmla="*/ 0 w 221"/>
                <a:gd name="T15" fmla="*/ 74 h 300"/>
                <a:gd name="T16" fmla="*/ 62 w 221"/>
                <a:gd name="T17" fmla="*/ 285 h 300"/>
                <a:gd name="T18" fmla="*/ 89 w 221"/>
                <a:gd name="T19" fmla="*/ 300 h 300"/>
                <a:gd name="T20" fmla="*/ 89 w 221"/>
                <a:gd name="T21" fmla="*/ 300 h 300"/>
                <a:gd name="T22" fmla="*/ 111 w 221"/>
                <a:gd name="T23" fmla="*/ 292 h 300"/>
                <a:gd name="T24" fmla="*/ 202 w 221"/>
                <a:gd name="T25" fmla="*/ 220 h 300"/>
                <a:gd name="T26" fmla="*/ 211 w 221"/>
                <a:gd name="T27" fmla="*/ 169 h 300"/>
                <a:gd name="T28" fmla="*/ 192 w 221"/>
                <a:gd name="T29" fmla="*/ 208 h 300"/>
                <a:gd name="T30" fmla="*/ 101 w 221"/>
                <a:gd name="T31" fmla="*/ 280 h 300"/>
                <a:gd name="T32" fmla="*/ 89 w 221"/>
                <a:gd name="T33" fmla="*/ 284 h 300"/>
                <a:gd name="T34" fmla="*/ 89 w 221"/>
                <a:gd name="T35" fmla="*/ 284 h 300"/>
                <a:gd name="T36" fmla="*/ 75 w 221"/>
                <a:gd name="T37" fmla="*/ 276 h 300"/>
                <a:gd name="T38" fmla="*/ 16 w 221"/>
                <a:gd name="T39" fmla="*/ 74 h 300"/>
                <a:gd name="T40" fmla="*/ 19 w 221"/>
                <a:gd name="T41" fmla="*/ 31 h 300"/>
                <a:gd name="T42" fmla="*/ 36 w 221"/>
                <a:gd name="T43" fmla="*/ 16 h 300"/>
                <a:gd name="T44" fmla="*/ 41 w 221"/>
                <a:gd name="T45" fmla="*/ 16 h 300"/>
                <a:gd name="T46" fmla="*/ 154 w 221"/>
                <a:gd name="T47" fmla="*/ 42 h 300"/>
                <a:gd name="T48" fmla="*/ 173 w 221"/>
                <a:gd name="T49" fmla="*/ 57 h 300"/>
                <a:gd name="T50" fmla="*/ 172 w 221"/>
                <a:gd name="T51" fmla="*/ 74 h 300"/>
                <a:gd name="T52" fmla="*/ 197 w 221"/>
                <a:gd name="T53" fmla="*/ 176 h 300"/>
                <a:gd name="T54" fmla="*/ 192 w 221"/>
                <a:gd name="T55" fmla="*/ 20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1" h="300">
                  <a:moveTo>
                    <a:pt x="211" y="169"/>
                  </a:moveTo>
                  <a:cubicBezTo>
                    <a:pt x="196" y="139"/>
                    <a:pt x="188" y="107"/>
                    <a:pt x="188" y="74"/>
                  </a:cubicBezTo>
                  <a:cubicBezTo>
                    <a:pt x="188" y="69"/>
                    <a:pt x="189" y="63"/>
                    <a:pt x="189" y="58"/>
                  </a:cubicBezTo>
                  <a:cubicBezTo>
                    <a:pt x="190" y="44"/>
                    <a:pt x="177" y="31"/>
                    <a:pt x="158" y="26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0"/>
                    <a:pt x="39" y="0"/>
                    <a:pt x="36" y="0"/>
                  </a:cubicBezTo>
                  <a:cubicBezTo>
                    <a:pt x="19" y="0"/>
                    <a:pt x="5" y="12"/>
                    <a:pt x="3" y="29"/>
                  </a:cubicBezTo>
                  <a:cubicBezTo>
                    <a:pt x="1" y="44"/>
                    <a:pt x="0" y="59"/>
                    <a:pt x="0" y="74"/>
                  </a:cubicBezTo>
                  <a:cubicBezTo>
                    <a:pt x="0" y="149"/>
                    <a:pt x="22" y="222"/>
                    <a:pt x="62" y="285"/>
                  </a:cubicBezTo>
                  <a:cubicBezTo>
                    <a:pt x="68" y="294"/>
                    <a:pt x="78" y="300"/>
                    <a:pt x="89" y="300"/>
                  </a:cubicBezTo>
                  <a:cubicBezTo>
                    <a:pt x="89" y="300"/>
                    <a:pt x="89" y="300"/>
                    <a:pt x="89" y="300"/>
                  </a:cubicBezTo>
                  <a:cubicBezTo>
                    <a:pt x="97" y="300"/>
                    <a:pt x="105" y="297"/>
                    <a:pt x="111" y="292"/>
                  </a:cubicBezTo>
                  <a:cubicBezTo>
                    <a:pt x="202" y="220"/>
                    <a:pt x="202" y="220"/>
                    <a:pt x="202" y="220"/>
                  </a:cubicBezTo>
                  <a:cubicBezTo>
                    <a:pt x="217" y="208"/>
                    <a:pt x="221" y="186"/>
                    <a:pt x="211" y="169"/>
                  </a:cubicBezTo>
                  <a:close/>
                  <a:moveTo>
                    <a:pt x="192" y="208"/>
                  </a:moveTo>
                  <a:cubicBezTo>
                    <a:pt x="101" y="280"/>
                    <a:pt x="101" y="280"/>
                    <a:pt x="101" y="280"/>
                  </a:cubicBezTo>
                  <a:cubicBezTo>
                    <a:pt x="98" y="283"/>
                    <a:pt x="94" y="284"/>
                    <a:pt x="89" y="284"/>
                  </a:cubicBezTo>
                  <a:cubicBezTo>
                    <a:pt x="89" y="284"/>
                    <a:pt x="89" y="284"/>
                    <a:pt x="89" y="284"/>
                  </a:cubicBezTo>
                  <a:cubicBezTo>
                    <a:pt x="84" y="284"/>
                    <a:pt x="78" y="281"/>
                    <a:pt x="75" y="276"/>
                  </a:cubicBezTo>
                  <a:cubicBezTo>
                    <a:pt x="37" y="216"/>
                    <a:pt x="16" y="146"/>
                    <a:pt x="16" y="74"/>
                  </a:cubicBezTo>
                  <a:cubicBezTo>
                    <a:pt x="16" y="60"/>
                    <a:pt x="17" y="45"/>
                    <a:pt x="19" y="31"/>
                  </a:cubicBezTo>
                  <a:cubicBezTo>
                    <a:pt x="20" y="22"/>
                    <a:pt x="27" y="16"/>
                    <a:pt x="36" y="16"/>
                  </a:cubicBezTo>
                  <a:cubicBezTo>
                    <a:pt x="38" y="16"/>
                    <a:pt x="39" y="16"/>
                    <a:pt x="41" y="16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66" y="45"/>
                    <a:pt x="173" y="52"/>
                    <a:pt x="173" y="57"/>
                  </a:cubicBezTo>
                  <a:cubicBezTo>
                    <a:pt x="173" y="62"/>
                    <a:pt x="172" y="68"/>
                    <a:pt x="172" y="74"/>
                  </a:cubicBezTo>
                  <a:cubicBezTo>
                    <a:pt x="172" y="110"/>
                    <a:pt x="181" y="145"/>
                    <a:pt x="197" y="176"/>
                  </a:cubicBezTo>
                  <a:cubicBezTo>
                    <a:pt x="203" y="187"/>
                    <a:pt x="201" y="201"/>
                    <a:pt x="192" y="20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22">
              <a:extLst>
                <a:ext uri="{FF2B5EF4-FFF2-40B4-BE49-F238E27FC236}">
                  <a16:creationId xmlns:a16="http://schemas.microsoft.com/office/drawing/2014/main" id="{7AD1213E-91DB-B6B5-45EF-86A1F72EA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39863" y="5554663"/>
              <a:ext cx="825500" cy="1125538"/>
            </a:xfrm>
            <a:custGeom>
              <a:avLst/>
              <a:gdLst>
                <a:gd name="T0" fmla="*/ 218 w 220"/>
                <a:gd name="T1" fmla="*/ 29 h 300"/>
                <a:gd name="T2" fmla="*/ 185 w 220"/>
                <a:gd name="T3" fmla="*/ 0 h 300"/>
                <a:gd name="T4" fmla="*/ 177 w 220"/>
                <a:gd name="T5" fmla="*/ 0 h 300"/>
                <a:gd name="T6" fmla="*/ 63 w 220"/>
                <a:gd name="T7" fmla="*/ 26 h 300"/>
                <a:gd name="T8" fmla="*/ 32 w 220"/>
                <a:gd name="T9" fmla="*/ 58 h 300"/>
                <a:gd name="T10" fmla="*/ 32 w 220"/>
                <a:gd name="T11" fmla="*/ 74 h 300"/>
                <a:gd name="T12" fmla="*/ 9 w 220"/>
                <a:gd name="T13" fmla="*/ 169 h 300"/>
                <a:gd name="T14" fmla="*/ 19 w 220"/>
                <a:gd name="T15" fmla="*/ 220 h 300"/>
                <a:gd name="T16" fmla="*/ 110 w 220"/>
                <a:gd name="T17" fmla="*/ 292 h 300"/>
                <a:gd name="T18" fmla="*/ 131 w 220"/>
                <a:gd name="T19" fmla="*/ 300 h 300"/>
                <a:gd name="T20" fmla="*/ 131 w 220"/>
                <a:gd name="T21" fmla="*/ 300 h 300"/>
                <a:gd name="T22" fmla="*/ 159 w 220"/>
                <a:gd name="T23" fmla="*/ 285 h 300"/>
                <a:gd name="T24" fmla="*/ 220 w 220"/>
                <a:gd name="T25" fmla="*/ 74 h 300"/>
                <a:gd name="T26" fmla="*/ 218 w 220"/>
                <a:gd name="T27" fmla="*/ 29 h 300"/>
                <a:gd name="T28" fmla="*/ 131 w 220"/>
                <a:gd name="T29" fmla="*/ 284 h 300"/>
                <a:gd name="T30" fmla="*/ 120 w 220"/>
                <a:gd name="T31" fmla="*/ 280 h 300"/>
                <a:gd name="T32" fmla="*/ 29 w 220"/>
                <a:gd name="T33" fmla="*/ 208 h 300"/>
                <a:gd name="T34" fmla="*/ 24 w 220"/>
                <a:gd name="T35" fmla="*/ 176 h 300"/>
                <a:gd name="T36" fmla="*/ 48 w 220"/>
                <a:gd name="T37" fmla="*/ 74 h 300"/>
                <a:gd name="T38" fmla="*/ 48 w 220"/>
                <a:gd name="T39" fmla="*/ 57 h 300"/>
                <a:gd name="T40" fmla="*/ 67 w 220"/>
                <a:gd name="T41" fmla="*/ 42 h 300"/>
                <a:gd name="T42" fmla="*/ 180 w 220"/>
                <a:gd name="T43" fmla="*/ 16 h 300"/>
                <a:gd name="T44" fmla="*/ 185 w 220"/>
                <a:gd name="T45" fmla="*/ 16 h 300"/>
                <a:gd name="T46" fmla="*/ 202 w 220"/>
                <a:gd name="T47" fmla="*/ 31 h 300"/>
                <a:gd name="T48" fmla="*/ 204 w 220"/>
                <a:gd name="T49" fmla="*/ 74 h 300"/>
                <a:gd name="T50" fmla="*/ 146 w 220"/>
                <a:gd name="T51" fmla="*/ 276 h 300"/>
                <a:gd name="T52" fmla="*/ 131 w 220"/>
                <a:gd name="T53" fmla="*/ 28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0" h="300">
                  <a:moveTo>
                    <a:pt x="218" y="29"/>
                  </a:moveTo>
                  <a:cubicBezTo>
                    <a:pt x="216" y="12"/>
                    <a:pt x="202" y="0"/>
                    <a:pt x="185" y="0"/>
                  </a:cubicBezTo>
                  <a:cubicBezTo>
                    <a:pt x="182" y="0"/>
                    <a:pt x="179" y="0"/>
                    <a:pt x="177" y="0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44" y="31"/>
                    <a:pt x="31" y="44"/>
                    <a:pt x="32" y="58"/>
                  </a:cubicBezTo>
                  <a:cubicBezTo>
                    <a:pt x="32" y="63"/>
                    <a:pt x="32" y="69"/>
                    <a:pt x="32" y="74"/>
                  </a:cubicBezTo>
                  <a:cubicBezTo>
                    <a:pt x="32" y="107"/>
                    <a:pt x="25" y="139"/>
                    <a:pt x="9" y="169"/>
                  </a:cubicBezTo>
                  <a:cubicBezTo>
                    <a:pt x="0" y="186"/>
                    <a:pt x="4" y="208"/>
                    <a:pt x="19" y="220"/>
                  </a:cubicBezTo>
                  <a:cubicBezTo>
                    <a:pt x="110" y="292"/>
                    <a:pt x="110" y="292"/>
                    <a:pt x="110" y="292"/>
                  </a:cubicBezTo>
                  <a:cubicBezTo>
                    <a:pt x="116" y="297"/>
                    <a:pt x="124" y="300"/>
                    <a:pt x="131" y="300"/>
                  </a:cubicBezTo>
                  <a:cubicBezTo>
                    <a:pt x="131" y="300"/>
                    <a:pt x="131" y="300"/>
                    <a:pt x="131" y="300"/>
                  </a:cubicBezTo>
                  <a:cubicBezTo>
                    <a:pt x="143" y="300"/>
                    <a:pt x="153" y="294"/>
                    <a:pt x="159" y="285"/>
                  </a:cubicBezTo>
                  <a:cubicBezTo>
                    <a:pt x="199" y="222"/>
                    <a:pt x="220" y="149"/>
                    <a:pt x="220" y="74"/>
                  </a:cubicBezTo>
                  <a:cubicBezTo>
                    <a:pt x="220" y="59"/>
                    <a:pt x="220" y="44"/>
                    <a:pt x="218" y="29"/>
                  </a:cubicBezTo>
                  <a:close/>
                  <a:moveTo>
                    <a:pt x="131" y="284"/>
                  </a:moveTo>
                  <a:cubicBezTo>
                    <a:pt x="127" y="284"/>
                    <a:pt x="123" y="283"/>
                    <a:pt x="120" y="280"/>
                  </a:cubicBezTo>
                  <a:cubicBezTo>
                    <a:pt x="29" y="208"/>
                    <a:pt x="29" y="208"/>
                    <a:pt x="29" y="208"/>
                  </a:cubicBezTo>
                  <a:cubicBezTo>
                    <a:pt x="20" y="201"/>
                    <a:pt x="18" y="187"/>
                    <a:pt x="24" y="176"/>
                  </a:cubicBezTo>
                  <a:cubicBezTo>
                    <a:pt x="40" y="145"/>
                    <a:pt x="48" y="110"/>
                    <a:pt x="48" y="74"/>
                  </a:cubicBezTo>
                  <a:cubicBezTo>
                    <a:pt x="48" y="68"/>
                    <a:pt x="48" y="62"/>
                    <a:pt x="48" y="57"/>
                  </a:cubicBezTo>
                  <a:cubicBezTo>
                    <a:pt x="47" y="52"/>
                    <a:pt x="55" y="45"/>
                    <a:pt x="67" y="42"/>
                  </a:cubicBezTo>
                  <a:cubicBezTo>
                    <a:pt x="180" y="16"/>
                    <a:pt x="180" y="16"/>
                    <a:pt x="180" y="16"/>
                  </a:cubicBezTo>
                  <a:cubicBezTo>
                    <a:pt x="182" y="16"/>
                    <a:pt x="183" y="16"/>
                    <a:pt x="185" y="16"/>
                  </a:cubicBezTo>
                  <a:cubicBezTo>
                    <a:pt x="194" y="16"/>
                    <a:pt x="201" y="22"/>
                    <a:pt x="202" y="31"/>
                  </a:cubicBezTo>
                  <a:cubicBezTo>
                    <a:pt x="204" y="45"/>
                    <a:pt x="204" y="60"/>
                    <a:pt x="204" y="74"/>
                  </a:cubicBezTo>
                  <a:cubicBezTo>
                    <a:pt x="204" y="146"/>
                    <a:pt x="184" y="216"/>
                    <a:pt x="146" y="276"/>
                  </a:cubicBezTo>
                  <a:cubicBezTo>
                    <a:pt x="143" y="281"/>
                    <a:pt x="137" y="284"/>
                    <a:pt x="131" y="2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23">
              <a:extLst>
                <a:ext uri="{FF2B5EF4-FFF2-40B4-BE49-F238E27FC236}">
                  <a16:creationId xmlns:a16="http://schemas.microsoft.com/office/drawing/2014/main" id="{29FE6268-E39D-4919-C681-BAABA490E1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06563" y="4559300"/>
              <a:ext cx="1025525" cy="1054100"/>
            </a:xfrm>
            <a:custGeom>
              <a:avLst/>
              <a:gdLst>
                <a:gd name="T0" fmla="*/ 270 w 273"/>
                <a:gd name="T1" fmla="*/ 210 h 281"/>
                <a:gd name="T2" fmla="*/ 106 w 273"/>
                <a:gd name="T3" fmla="*/ 5 h 281"/>
                <a:gd name="T4" fmla="*/ 89 w 273"/>
                <a:gd name="T5" fmla="*/ 0 h 281"/>
                <a:gd name="T6" fmla="*/ 58 w 273"/>
                <a:gd name="T7" fmla="*/ 20 h 281"/>
                <a:gd name="T8" fmla="*/ 8 w 273"/>
                <a:gd name="T9" fmla="*/ 124 h 281"/>
                <a:gd name="T10" fmla="*/ 21 w 273"/>
                <a:gd name="T11" fmla="*/ 175 h 281"/>
                <a:gd name="T12" fmla="*/ 85 w 273"/>
                <a:gd name="T13" fmla="*/ 255 h 281"/>
                <a:gd name="T14" fmla="*/ 123 w 273"/>
                <a:gd name="T15" fmla="*/ 281 h 281"/>
                <a:gd name="T16" fmla="*/ 123 w 273"/>
                <a:gd name="T17" fmla="*/ 281 h 281"/>
                <a:gd name="T18" fmla="*/ 132 w 273"/>
                <a:gd name="T19" fmla="*/ 280 h 281"/>
                <a:gd name="T20" fmla="*/ 245 w 273"/>
                <a:gd name="T21" fmla="*/ 254 h 281"/>
                <a:gd name="T22" fmla="*/ 268 w 273"/>
                <a:gd name="T23" fmla="*/ 237 h 281"/>
                <a:gd name="T24" fmla="*/ 270 w 273"/>
                <a:gd name="T25" fmla="*/ 210 h 281"/>
                <a:gd name="T26" fmla="*/ 254 w 273"/>
                <a:gd name="T27" fmla="*/ 229 h 281"/>
                <a:gd name="T28" fmla="*/ 241 w 273"/>
                <a:gd name="T29" fmla="*/ 238 h 281"/>
                <a:gd name="T30" fmla="*/ 128 w 273"/>
                <a:gd name="T31" fmla="*/ 264 h 281"/>
                <a:gd name="T32" fmla="*/ 123 w 273"/>
                <a:gd name="T33" fmla="*/ 265 h 281"/>
                <a:gd name="T34" fmla="*/ 123 w 273"/>
                <a:gd name="T35" fmla="*/ 265 h 281"/>
                <a:gd name="T36" fmla="*/ 100 w 273"/>
                <a:gd name="T37" fmla="*/ 249 h 281"/>
                <a:gd name="T38" fmla="*/ 31 w 273"/>
                <a:gd name="T39" fmla="*/ 162 h 281"/>
                <a:gd name="T40" fmla="*/ 22 w 273"/>
                <a:gd name="T41" fmla="*/ 131 h 281"/>
                <a:gd name="T42" fmla="*/ 72 w 273"/>
                <a:gd name="T43" fmla="*/ 27 h 281"/>
                <a:gd name="T44" fmla="*/ 89 w 273"/>
                <a:gd name="T45" fmla="*/ 16 h 281"/>
                <a:gd name="T46" fmla="*/ 97 w 273"/>
                <a:gd name="T47" fmla="*/ 19 h 281"/>
                <a:gd name="T48" fmla="*/ 255 w 273"/>
                <a:gd name="T49" fmla="*/ 216 h 281"/>
                <a:gd name="T50" fmla="*/ 254 w 273"/>
                <a:gd name="T51" fmla="*/ 22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3" h="281">
                  <a:moveTo>
                    <a:pt x="270" y="210"/>
                  </a:moveTo>
                  <a:cubicBezTo>
                    <a:pt x="240" y="126"/>
                    <a:pt x="182" y="53"/>
                    <a:pt x="106" y="5"/>
                  </a:cubicBezTo>
                  <a:cubicBezTo>
                    <a:pt x="101" y="2"/>
                    <a:pt x="95" y="0"/>
                    <a:pt x="89" y="0"/>
                  </a:cubicBezTo>
                  <a:cubicBezTo>
                    <a:pt x="76" y="0"/>
                    <a:pt x="64" y="8"/>
                    <a:pt x="58" y="20"/>
                  </a:cubicBezTo>
                  <a:cubicBezTo>
                    <a:pt x="8" y="124"/>
                    <a:pt x="8" y="124"/>
                    <a:pt x="8" y="124"/>
                  </a:cubicBezTo>
                  <a:cubicBezTo>
                    <a:pt x="0" y="141"/>
                    <a:pt x="5" y="163"/>
                    <a:pt x="21" y="175"/>
                  </a:cubicBezTo>
                  <a:cubicBezTo>
                    <a:pt x="49" y="196"/>
                    <a:pt x="71" y="224"/>
                    <a:pt x="85" y="255"/>
                  </a:cubicBezTo>
                  <a:cubicBezTo>
                    <a:pt x="92" y="270"/>
                    <a:pt x="107" y="281"/>
                    <a:pt x="123" y="281"/>
                  </a:cubicBezTo>
                  <a:cubicBezTo>
                    <a:pt x="123" y="281"/>
                    <a:pt x="123" y="281"/>
                    <a:pt x="123" y="281"/>
                  </a:cubicBezTo>
                  <a:cubicBezTo>
                    <a:pt x="126" y="281"/>
                    <a:pt x="129" y="280"/>
                    <a:pt x="132" y="280"/>
                  </a:cubicBezTo>
                  <a:cubicBezTo>
                    <a:pt x="245" y="254"/>
                    <a:pt x="245" y="254"/>
                    <a:pt x="245" y="254"/>
                  </a:cubicBezTo>
                  <a:cubicBezTo>
                    <a:pt x="255" y="252"/>
                    <a:pt x="263" y="245"/>
                    <a:pt x="268" y="237"/>
                  </a:cubicBezTo>
                  <a:cubicBezTo>
                    <a:pt x="272" y="229"/>
                    <a:pt x="273" y="219"/>
                    <a:pt x="270" y="210"/>
                  </a:cubicBezTo>
                  <a:close/>
                  <a:moveTo>
                    <a:pt x="254" y="229"/>
                  </a:moveTo>
                  <a:cubicBezTo>
                    <a:pt x="251" y="234"/>
                    <a:pt x="247" y="237"/>
                    <a:pt x="241" y="238"/>
                  </a:cubicBezTo>
                  <a:cubicBezTo>
                    <a:pt x="128" y="264"/>
                    <a:pt x="128" y="264"/>
                    <a:pt x="128" y="264"/>
                  </a:cubicBezTo>
                  <a:cubicBezTo>
                    <a:pt x="126" y="264"/>
                    <a:pt x="125" y="265"/>
                    <a:pt x="123" y="265"/>
                  </a:cubicBezTo>
                  <a:cubicBezTo>
                    <a:pt x="123" y="265"/>
                    <a:pt x="123" y="265"/>
                    <a:pt x="123" y="265"/>
                  </a:cubicBezTo>
                  <a:cubicBezTo>
                    <a:pt x="114" y="265"/>
                    <a:pt x="104" y="258"/>
                    <a:pt x="100" y="249"/>
                  </a:cubicBezTo>
                  <a:cubicBezTo>
                    <a:pt x="85" y="214"/>
                    <a:pt x="61" y="185"/>
                    <a:pt x="31" y="162"/>
                  </a:cubicBezTo>
                  <a:cubicBezTo>
                    <a:pt x="21" y="155"/>
                    <a:pt x="17" y="141"/>
                    <a:pt x="22" y="131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6" y="20"/>
                    <a:pt x="82" y="16"/>
                    <a:pt x="89" y="16"/>
                  </a:cubicBezTo>
                  <a:cubicBezTo>
                    <a:pt x="92" y="16"/>
                    <a:pt x="95" y="17"/>
                    <a:pt x="97" y="19"/>
                  </a:cubicBezTo>
                  <a:cubicBezTo>
                    <a:pt x="171" y="64"/>
                    <a:pt x="226" y="134"/>
                    <a:pt x="255" y="216"/>
                  </a:cubicBezTo>
                  <a:cubicBezTo>
                    <a:pt x="256" y="220"/>
                    <a:pt x="256" y="225"/>
                    <a:pt x="254" y="2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24">
              <a:extLst>
                <a:ext uri="{FF2B5EF4-FFF2-40B4-BE49-F238E27FC236}">
                  <a16:creationId xmlns:a16="http://schemas.microsoft.com/office/drawing/2014/main" id="{BB4944DD-DDA7-E25D-A991-72DE43F4B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00438" y="4559300"/>
              <a:ext cx="1025525" cy="1054100"/>
            </a:xfrm>
            <a:custGeom>
              <a:avLst/>
              <a:gdLst>
                <a:gd name="T0" fmla="*/ 265 w 273"/>
                <a:gd name="T1" fmla="*/ 124 h 281"/>
                <a:gd name="T2" fmla="*/ 215 w 273"/>
                <a:gd name="T3" fmla="*/ 20 h 281"/>
                <a:gd name="T4" fmla="*/ 184 w 273"/>
                <a:gd name="T5" fmla="*/ 0 h 281"/>
                <a:gd name="T6" fmla="*/ 167 w 273"/>
                <a:gd name="T7" fmla="*/ 5 h 281"/>
                <a:gd name="T8" fmla="*/ 3 w 273"/>
                <a:gd name="T9" fmla="*/ 210 h 281"/>
                <a:gd name="T10" fmla="*/ 5 w 273"/>
                <a:gd name="T11" fmla="*/ 237 h 281"/>
                <a:gd name="T12" fmla="*/ 28 w 273"/>
                <a:gd name="T13" fmla="*/ 254 h 281"/>
                <a:gd name="T14" fmla="*/ 141 w 273"/>
                <a:gd name="T15" fmla="*/ 280 h 281"/>
                <a:gd name="T16" fmla="*/ 149 w 273"/>
                <a:gd name="T17" fmla="*/ 281 h 281"/>
                <a:gd name="T18" fmla="*/ 149 w 273"/>
                <a:gd name="T19" fmla="*/ 281 h 281"/>
                <a:gd name="T20" fmla="*/ 187 w 273"/>
                <a:gd name="T21" fmla="*/ 255 h 281"/>
                <a:gd name="T22" fmla="*/ 252 w 273"/>
                <a:gd name="T23" fmla="*/ 175 h 281"/>
                <a:gd name="T24" fmla="*/ 265 w 273"/>
                <a:gd name="T25" fmla="*/ 124 h 281"/>
                <a:gd name="T26" fmla="*/ 242 w 273"/>
                <a:gd name="T27" fmla="*/ 162 h 281"/>
                <a:gd name="T28" fmla="*/ 173 w 273"/>
                <a:gd name="T29" fmla="*/ 249 h 281"/>
                <a:gd name="T30" fmla="*/ 145 w 273"/>
                <a:gd name="T31" fmla="*/ 264 h 281"/>
                <a:gd name="T32" fmla="*/ 32 w 273"/>
                <a:gd name="T33" fmla="*/ 238 h 281"/>
                <a:gd name="T34" fmla="*/ 19 w 273"/>
                <a:gd name="T35" fmla="*/ 229 h 281"/>
                <a:gd name="T36" fmla="*/ 18 w 273"/>
                <a:gd name="T37" fmla="*/ 216 h 281"/>
                <a:gd name="T38" fmla="*/ 175 w 273"/>
                <a:gd name="T39" fmla="*/ 19 h 281"/>
                <a:gd name="T40" fmla="*/ 184 w 273"/>
                <a:gd name="T41" fmla="*/ 16 h 281"/>
                <a:gd name="T42" fmla="*/ 200 w 273"/>
                <a:gd name="T43" fmla="*/ 27 h 281"/>
                <a:gd name="T44" fmla="*/ 251 w 273"/>
                <a:gd name="T45" fmla="*/ 131 h 281"/>
                <a:gd name="T46" fmla="*/ 242 w 273"/>
                <a:gd name="T47" fmla="*/ 16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3" h="281">
                  <a:moveTo>
                    <a:pt x="265" y="124"/>
                  </a:moveTo>
                  <a:cubicBezTo>
                    <a:pt x="215" y="20"/>
                    <a:pt x="215" y="20"/>
                    <a:pt x="215" y="20"/>
                  </a:cubicBezTo>
                  <a:cubicBezTo>
                    <a:pt x="209" y="8"/>
                    <a:pt x="197" y="0"/>
                    <a:pt x="184" y="0"/>
                  </a:cubicBezTo>
                  <a:cubicBezTo>
                    <a:pt x="178" y="0"/>
                    <a:pt x="172" y="2"/>
                    <a:pt x="167" y="5"/>
                  </a:cubicBezTo>
                  <a:cubicBezTo>
                    <a:pt x="91" y="53"/>
                    <a:pt x="32" y="126"/>
                    <a:pt x="3" y="210"/>
                  </a:cubicBezTo>
                  <a:cubicBezTo>
                    <a:pt x="0" y="219"/>
                    <a:pt x="1" y="229"/>
                    <a:pt x="5" y="237"/>
                  </a:cubicBezTo>
                  <a:cubicBezTo>
                    <a:pt x="10" y="245"/>
                    <a:pt x="18" y="252"/>
                    <a:pt x="28" y="254"/>
                  </a:cubicBezTo>
                  <a:cubicBezTo>
                    <a:pt x="141" y="280"/>
                    <a:pt x="141" y="280"/>
                    <a:pt x="141" y="280"/>
                  </a:cubicBezTo>
                  <a:cubicBezTo>
                    <a:pt x="144" y="280"/>
                    <a:pt x="147" y="281"/>
                    <a:pt x="149" y="281"/>
                  </a:cubicBezTo>
                  <a:cubicBezTo>
                    <a:pt x="149" y="281"/>
                    <a:pt x="149" y="281"/>
                    <a:pt x="149" y="281"/>
                  </a:cubicBezTo>
                  <a:cubicBezTo>
                    <a:pt x="165" y="281"/>
                    <a:pt x="181" y="270"/>
                    <a:pt x="187" y="255"/>
                  </a:cubicBezTo>
                  <a:cubicBezTo>
                    <a:pt x="202" y="223"/>
                    <a:pt x="224" y="196"/>
                    <a:pt x="252" y="175"/>
                  </a:cubicBezTo>
                  <a:cubicBezTo>
                    <a:pt x="267" y="163"/>
                    <a:pt x="273" y="141"/>
                    <a:pt x="265" y="124"/>
                  </a:cubicBezTo>
                  <a:close/>
                  <a:moveTo>
                    <a:pt x="242" y="162"/>
                  </a:moveTo>
                  <a:cubicBezTo>
                    <a:pt x="212" y="185"/>
                    <a:pt x="188" y="214"/>
                    <a:pt x="173" y="249"/>
                  </a:cubicBezTo>
                  <a:cubicBezTo>
                    <a:pt x="168" y="259"/>
                    <a:pt x="156" y="266"/>
                    <a:pt x="145" y="264"/>
                  </a:cubicBezTo>
                  <a:cubicBezTo>
                    <a:pt x="32" y="238"/>
                    <a:pt x="32" y="238"/>
                    <a:pt x="32" y="238"/>
                  </a:cubicBezTo>
                  <a:cubicBezTo>
                    <a:pt x="26" y="237"/>
                    <a:pt x="22" y="234"/>
                    <a:pt x="19" y="229"/>
                  </a:cubicBezTo>
                  <a:cubicBezTo>
                    <a:pt x="17" y="225"/>
                    <a:pt x="17" y="220"/>
                    <a:pt x="18" y="216"/>
                  </a:cubicBezTo>
                  <a:cubicBezTo>
                    <a:pt x="46" y="134"/>
                    <a:pt x="102" y="64"/>
                    <a:pt x="175" y="19"/>
                  </a:cubicBezTo>
                  <a:cubicBezTo>
                    <a:pt x="178" y="17"/>
                    <a:pt x="181" y="16"/>
                    <a:pt x="184" y="16"/>
                  </a:cubicBezTo>
                  <a:cubicBezTo>
                    <a:pt x="191" y="16"/>
                    <a:pt x="197" y="20"/>
                    <a:pt x="200" y="27"/>
                  </a:cubicBezTo>
                  <a:cubicBezTo>
                    <a:pt x="251" y="131"/>
                    <a:pt x="251" y="131"/>
                    <a:pt x="251" y="131"/>
                  </a:cubicBezTo>
                  <a:cubicBezTo>
                    <a:pt x="256" y="141"/>
                    <a:pt x="252" y="155"/>
                    <a:pt x="242" y="16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25">
              <a:extLst>
                <a:ext uri="{FF2B5EF4-FFF2-40B4-BE49-F238E27FC236}">
                  <a16:creationId xmlns:a16="http://schemas.microsoft.com/office/drawing/2014/main" id="{34AC8B6D-C4FF-CDA9-678B-543E6838E3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70100" y="6383338"/>
              <a:ext cx="1065213" cy="920750"/>
            </a:xfrm>
            <a:custGeom>
              <a:avLst/>
              <a:gdLst>
                <a:gd name="T0" fmla="*/ 283 w 284"/>
                <a:gd name="T1" fmla="*/ 106 h 245"/>
                <a:gd name="T2" fmla="*/ 270 w 284"/>
                <a:gd name="T3" fmla="*/ 81 h 245"/>
                <a:gd name="T4" fmla="*/ 179 w 284"/>
                <a:gd name="T5" fmla="*/ 8 h 245"/>
                <a:gd name="T6" fmla="*/ 155 w 284"/>
                <a:gd name="T7" fmla="*/ 0 h 245"/>
                <a:gd name="T8" fmla="*/ 127 w 284"/>
                <a:gd name="T9" fmla="*/ 11 h 245"/>
                <a:gd name="T10" fmla="*/ 35 w 284"/>
                <a:gd name="T11" fmla="*/ 55 h 245"/>
                <a:gd name="T12" fmla="*/ 0 w 284"/>
                <a:gd name="T13" fmla="*/ 95 h 245"/>
                <a:gd name="T14" fmla="*/ 0 w 284"/>
                <a:gd name="T15" fmla="*/ 211 h 245"/>
                <a:gd name="T16" fmla="*/ 34 w 284"/>
                <a:gd name="T17" fmla="*/ 245 h 245"/>
                <a:gd name="T18" fmla="*/ 37 w 284"/>
                <a:gd name="T19" fmla="*/ 245 h 245"/>
                <a:gd name="T20" fmla="*/ 274 w 284"/>
                <a:gd name="T21" fmla="*/ 131 h 245"/>
                <a:gd name="T22" fmla="*/ 283 w 284"/>
                <a:gd name="T23" fmla="*/ 106 h 245"/>
                <a:gd name="T24" fmla="*/ 16 w 284"/>
                <a:gd name="T25" fmla="*/ 95 h 245"/>
                <a:gd name="T26" fmla="*/ 38 w 284"/>
                <a:gd name="T27" fmla="*/ 71 h 245"/>
                <a:gd name="T28" fmla="*/ 138 w 284"/>
                <a:gd name="T29" fmla="*/ 23 h 245"/>
                <a:gd name="T30" fmla="*/ 155 w 284"/>
                <a:gd name="T31" fmla="*/ 16 h 245"/>
                <a:gd name="T32" fmla="*/ 169 w 284"/>
                <a:gd name="T33" fmla="*/ 21 h 245"/>
                <a:gd name="T34" fmla="*/ 260 w 284"/>
                <a:gd name="T35" fmla="*/ 93 h 245"/>
                <a:gd name="T36" fmla="*/ 267 w 284"/>
                <a:gd name="T37" fmla="*/ 107 h 245"/>
                <a:gd name="T38" fmla="*/ 262 w 284"/>
                <a:gd name="T39" fmla="*/ 119 h 245"/>
                <a:gd name="T40" fmla="*/ 35 w 284"/>
                <a:gd name="T41" fmla="*/ 229 h 245"/>
                <a:gd name="T42" fmla="*/ 16 w 284"/>
                <a:gd name="T43" fmla="*/ 211 h 245"/>
                <a:gd name="T44" fmla="*/ 16 w 284"/>
                <a:gd name="T45" fmla="*/ 9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4" h="245">
                  <a:moveTo>
                    <a:pt x="283" y="106"/>
                  </a:moveTo>
                  <a:cubicBezTo>
                    <a:pt x="283" y="96"/>
                    <a:pt x="278" y="87"/>
                    <a:pt x="270" y="81"/>
                  </a:cubicBezTo>
                  <a:cubicBezTo>
                    <a:pt x="179" y="8"/>
                    <a:pt x="179" y="8"/>
                    <a:pt x="179" y="8"/>
                  </a:cubicBezTo>
                  <a:cubicBezTo>
                    <a:pt x="173" y="3"/>
                    <a:pt x="164" y="0"/>
                    <a:pt x="155" y="0"/>
                  </a:cubicBezTo>
                  <a:cubicBezTo>
                    <a:pt x="145" y="0"/>
                    <a:pt x="135" y="4"/>
                    <a:pt x="127" y="11"/>
                  </a:cubicBezTo>
                  <a:cubicBezTo>
                    <a:pt x="101" y="33"/>
                    <a:pt x="69" y="48"/>
                    <a:pt x="35" y="55"/>
                  </a:cubicBezTo>
                  <a:cubicBezTo>
                    <a:pt x="15" y="59"/>
                    <a:pt x="0" y="76"/>
                    <a:pt x="0" y="95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0" y="230"/>
                    <a:pt x="15" y="245"/>
                    <a:pt x="34" y="245"/>
                  </a:cubicBezTo>
                  <a:cubicBezTo>
                    <a:pt x="35" y="245"/>
                    <a:pt x="36" y="245"/>
                    <a:pt x="37" y="245"/>
                  </a:cubicBezTo>
                  <a:cubicBezTo>
                    <a:pt x="126" y="235"/>
                    <a:pt x="210" y="195"/>
                    <a:pt x="274" y="131"/>
                  </a:cubicBezTo>
                  <a:cubicBezTo>
                    <a:pt x="280" y="124"/>
                    <a:pt x="284" y="115"/>
                    <a:pt x="283" y="106"/>
                  </a:cubicBezTo>
                  <a:close/>
                  <a:moveTo>
                    <a:pt x="16" y="95"/>
                  </a:moveTo>
                  <a:cubicBezTo>
                    <a:pt x="16" y="84"/>
                    <a:pt x="26" y="73"/>
                    <a:pt x="38" y="71"/>
                  </a:cubicBezTo>
                  <a:cubicBezTo>
                    <a:pt x="74" y="64"/>
                    <a:pt x="109" y="47"/>
                    <a:pt x="138" y="23"/>
                  </a:cubicBezTo>
                  <a:cubicBezTo>
                    <a:pt x="142" y="19"/>
                    <a:pt x="149" y="16"/>
                    <a:pt x="155" y="16"/>
                  </a:cubicBezTo>
                  <a:cubicBezTo>
                    <a:pt x="161" y="16"/>
                    <a:pt x="166" y="18"/>
                    <a:pt x="169" y="21"/>
                  </a:cubicBezTo>
                  <a:cubicBezTo>
                    <a:pt x="260" y="93"/>
                    <a:pt x="260" y="93"/>
                    <a:pt x="260" y="93"/>
                  </a:cubicBezTo>
                  <a:cubicBezTo>
                    <a:pt x="264" y="97"/>
                    <a:pt x="267" y="102"/>
                    <a:pt x="267" y="107"/>
                  </a:cubicBezTo>
                  <a:cubicBezTo>
                    <a:pt x="268" y="111"/>
                    <a:pt x="266" y="116"/>
                    <a:pt x="262" y="119"/>
                  </a:cubicBezTo>
                  <a:cubicBezTo>
                    <a:pt x="201" y="181"/>
                    <a:pt x="121" y="220"/>
                    <a:pt x="35" y="229"/>
                  </a:cubicBezTo>
                  <a:cubicBezTo>
                    <a:pt x="25" y="230"/>
                    <a:pt x="16" y="222"/>
                    <a:pt x="16" y="211"/>
                  </a:cubicBezTo>
                  <a:lnTo>
                    <a:pt x="16" y="9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26">
              <a:extLst>
                <a:ext uri="{FF2B5EF4-FFF2-40B4-BE49-F238E27FC236}">
                  <a16:creationId xmlns:a16="http://schemas.microsoft.com/office/drawing/2014/main" id="{F9A06ED5-DE6E-2654-CC64-FB831C301C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76588" y="6383338"/>
              <a:ext cx="1062038" cy="920750"/>
            </a:xfrm>
            <a:custGeom>
              <a:avLst/>
              <a:gdLst>
                <a:gd name="T0" fmla="*/ 249 w 283"/>
                <a:gd name="T1" fmla="*/ 55 h 245"/>
                <a:gd name="T2" fmla="*/ 157 w 283"/>
                <a:gd name="T3" fmla="*/ 11 h 245"/>
                <a:gd name="T4" fmla="*/ 128 w 283"/>
                <a:gd name="T5" fmla="*/ 0 h 245"/>
                <a:gd name="T6" fmla="*/ 104 w 283"/>
                <a:gd name="T7" fmla="*/ 8 h 245"/>
                <a:gd name="T8" fmla="*/ 14 w 283"/>
                <a:gd name="T9" fmla="*/ 81 h 245"/>
                <a:gd name="T10" fmla="*/ 1 w 283"/>
                <a:gd name="T11" fmla="*/ 106 h 245"/>
                <a:gd name="T12" fmla="*/ 10 w 283"/>
                <a:gd name="T13" fmla="*/ 131 h 245"/>
                <a:gd name="T14" fmla="*/ 247 w 283"/>
                <a:gd name="T15" fmla="*/ 245 h 245"/>
                <a:gd name="T16" fmla="*/ 250 w 283"/>
                <a:gd name="T17" fmla="*/ 245 h 245"/>
                <a:gd name="T18" fmla="*/ 250 w 283"/>
                <a:gd name="T19" fmla="*/ 245 h 245"/>
                <a:gd name="T20" fmla="*/ 274 w 283"/>
                <a:gd name="T21" fmla="*/ 235 h 245"/>
                <a:gd name="T22" fmla="*/ 283 w 283"/>
                <a:gd name="T23" fmla="*/ 211 h 245"/>
                <a:gd name="T24" fmla="*/ 283 w 283"/>
                <a:gd name="T25" fmla="*/ 95 h 245"/>
                <a:gd name="T26" fmla="*/ 249 w 283"/>
                <a:gd name="T27" fmla="*/ 55 h 245"/>
                <a:gd name="T28" fmla="*/ 267 w 283"/>
                <a:gd name="T29" fmla="*/ 211 h 245"/>
                <a:gd name="T30" fmla="*/ 262 w 283"/>
                <a:gd name="T31" fmla="*/ 224 h 245"/>
                <a:gd name="T32" fmla="*/ 250 w 283"/>
                <a:gd name="T33" fmla="*/ 229 h 245"/>
                <a:gd name="T34" fmla="*/ 248 w 283"/>
                <a:gd name="T35" fmla="*/ 229 h 245"/>
                <a:gd name="T36" fmla="*/ 21 w 283"/>
                <a:gd name="T37" fmla="*/ 119 h 245"/>
                <a:gd name="T38" fmla="*/ 16 w 283"/>
                <a:gd name="T39" fmla="*/ 107 h 245"/>
                <a:gd name="T40" fmla="*/ 24 w 283"/>
                <a:gd name="T41" fmla="*/ 93 h 245"/>
                <a:gd name="T42" fmla="*/ 114 w 283"/>
                <a:gd name="T43" fmla="*/ 21 h 245"/>
                <a:gd name="T44" fmla="*/ 128 w 283"/>
                <a:gd name="T45" fmla="*/ 16 h 245"/>
                <a:gd name="T46" fmla="*/ 146 w 283"/>
                <a:gd name="T47" fmla="*/ 23 h 245"/>
                <a:gd name="T48" fmla="*/ 246 w 283"/>
                <a:gd name="T49" fmla="*/ 71 h 245"/>
                <a:gd name="T50" fmla="*/ 267 w 283"/>
                <a:gd name="T51" fmla="*/ 95 h 245"/>
                <a:gd name="T52" fmla="*/ 267 w 283"/>
                <a:gd name="T53" fmla="*/ 21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3" h="245">
                  <a:moveTo>
                    <a:pt x="249" y="55"/>
                  </a:moveTo>
                  <a:cubicBezTo>
                    <a:pt x="215" y="48"/>
                    <a:pt x="183" y="33"/>
                    <a:pt x="157" y="11"/>
                  </a:cubicBezTo>
                  <a:cubicBezTo>
                    <a:pt x="149" y="4"/>
                    <a:pt x="139" y="0"/>
                    <a:pt x="128" y="0"/>
                  </a:cubicBezTo>
                  <a:cubicBezTo>
                    <a:pt x="119" y="0"/>
                    <a:pt x="111" y="3"/>
                    <a:pt x="104" y="8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6" y="87"/>
                    <a:pt x="1" y="96"/>
                    <a:pt x="1" y="106"/>
                  </a:cubicBezTo>
                  <a:cubicBezTo>
                    <a:pt x="0" y="115"/>
                    <a:pt x="3" y="124"/>
                    <a:pt x="10" y="131"/>
                  </a:cubicBezTo>
                  <a:cubicBezTo>
                    <a:pt x="74" y="195"/>
                    <a:pt x="158" y="235"/>
                    <a:pt x="247" y="245"/>
                  </a:cubicBezTo>
                  <a:cubicBezTo>
                    <a:pt x="248" y="245"/>
                    <a:pt x="249" y="245"/>
                    <a:pt x="250" y="245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9" y="245"/>
                    <a:pt x="268" y="241"/>
                    <a:pt x="274" y="235"/>
                  </a:cubicBezTo>
                  <a:cubicBezTo>
                    <a:pt x="280" y="229"/>
                    <a:pt x="283" y="220"/>
                    <a:pt x="283" y="211"/>
                  </a:cubicBezTo>
                  <a:cubicBezTo>
                    <a:pt x="283" y="95"/>
                    <a:pt x="283" y="95"/>
                    <a:pt x="283" y="95"/>
                  </a:cubicBezTo>
                  <a:cubicBezTo>
                    <a:pt x="283" y="76"/>
                    <a:pt x="269" y="59"/>
                    <a:pt x="249" y="55"/>
                  </a:cubicBezTo>
                  <a:close/>
                  <a:moveTo>
                    <a:pt x="267" y="211"/>
                  </a:moveTo>
                  <a:cubicBezTo>
                    <a:pt x="267" y="216"/>
                    <a:pt x="266" y="221"/>
                    <a:pt x="262" y="224"/>
                  </a:cubicBezTo>
                  <a:cubicBezTo>
                    <a:pt x="259" y="227"/>
                    <a:pt x="255" y="229"/>
                    <a:pt x="250" y="229"/>
                  </a:cubicBezTo>
                  <a:cubicBezTo>
                    <a:pt x="250" y="229"/>
                    <a:pt x="249" y="229"/>
                    <a:pt x="248" y="229"/>
                  </a:cubicBezTo>
                  <a:cubicBezTo>
                    <a:pt x="163" y="220"/>
                    <a:pt x="82" y="181"/>
                    <a:pt x="21" y="119"/>
                  </a:cubicBezTo>
                  <a:cubicBezTo>
                    <a:pt x="18" y="116"/>
                    <a:pt x="16" y="111"/>
                    <a:pt x="16" y="107"/>
                  </a:cubicBezTo>
                  <a:cubicBezTo>
                    <a:pt x="17" y="102"/>
                    <a:pt x="19" y="97"/>
                    <a:pt x="24" y="93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8" y="18"/>
                    <a:pt x="123" y="16"/>
                    <a:pt x="128" y="16"/>
                  </a:cubicBezTo>
                  <a:cubicBezTo>
                    <a:pt x="135" y="16"/>
                    <a:pt x="141" y="19"/>
                    <a:pt x="146" y="23"/>
                  </a:cubicBezTo>
                  <a:cubicBezTo>
                    <a:pt x="175" y="47"/>
                    <a:pt x="209" y="64"/>
                    <a:pt x="246" y="71"/>
                  </a:cubicBezTo>
                  <a:cubicBezTo>
                    <a:pt x="258" y="73"/>
                    <a:pt x="267" y="84"/>
                    <a:pt x="267" y="95"/>
                  </a:cubicBezTo>
                  <a:lnTo>
                    <a:pt x="267" y="2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2" name="Donut 77">
            <a:extLst>
              <a:ext uri="{FF2B5EF4-FFF2-40B4-BE49-F238E27FC236}">
                <a16:creationId xmlns:a16="http://schemas.microsoft.com/office/drawing/2014/main" id="{EB68597B-E6AA-9D92-0A04-F52912DD291C}"/>
              </a:ext>
            </a:extLst>
          </p:cNvPr>
          <p:cNvSpPr/>
          <p:nvPr/>
        </p:nvSpPr>
        <p:spPr bwMode="auto">
          <a:xfrm>
            <a:off x="5185664" y="2807148"/>
            <a:ext cx="1820672" cy="1820667"/>
          </a:xfrm>
          <a:prstGeom prst="donut">
            <a:avLst>
              <a:gd name="adj" fmla="val 12245"/>
            </a:avLst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0DC5016-6A05-F902-F8A2-0C42ABEBBD90}"/>
              </a:ext>
            </a:extLst>
          </p:cNvPr>
          <p:cNvSpPr/>
          <p:nvPr/>
        </p:nvSpPr>
        <p:spPr>
          <a:xfrm>
            <a:off x="8670511" y="1794575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4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Your Title Here</a:t>
            </a:r>
          </a:p>
          <a:p>
            <a:pPr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03F28B-C541-C926-0DC6-E5A7D4E3413D}"/>
              </a:ext>
            </a:extLst>
          </p:cNvPr>
          <p:cNvSpPr/>
          <p:nvPr/>
        </p:nvSpPr>
        <p:spPr>
          <a:xfrm>
            <a:off x="517567" y="1794575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1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C986716-7276-17B7-A440-D20DD2D14801}"/>
              </a:ext>
            </a:extLst>
          </p:cNvPr>
          <p:cNvSpPr/>
          <p:nvPr/>
        </p:nvSpPr>
        <p:spPr>
          <a:xfrm>
            <a:off x="8670511" y="3320044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4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Your Title Here</a:t>
            </a:r>
          </a:p>
          <a:p>
            <a:pPr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5219C4-D4D9-D28B-5DE8-BAE48AA4848C}"/>
              </a:ext>
            </a:extLst>
          </p:cNvPr>
          <p:cNvSpPr/>
          <p:nvPr/>
        </p:nvSpPr>
        <p:spPr>
          <a:xfrm>
            <a:off x="517567" y="2811555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8B67988-E825-4EAA-E618-E12A916E5BD0}"/>
              </a:ext>
            </a:extLst>
          </p:cNvPr>
          <p:cNvSpPr/>
          <p:nvPr/>
        </p:nvSpPr>
        <p:spPr>
          <a:xfrm>
            <a:off x="8670511" y="4845513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40000"/>
              </a:lnSpc>
            </a:pPr>
            <a:r>
              <a:rPr lang="en-US" sz="1600" b="1" dirty="0">
                <a:solidFill>
                  <a:schemeClr val="accent4"/>
                </a:solidFill>
              </a:rPr>
              <a:t>Your Title Here</a:t>
            </a:r>
          </a:p>
          <a:p>
            <a:pPr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44D6190-6AE1-3B3D-B663-F66040F07CFD}"/>
              </a:ext>
            </a:extLst>
          </p:cNvPr>
          <p:cNvSpPr/>
          <p:nvPr/>
        </p:nvSpPr>
        <p:spPr>
          <a:xfrm>
            <a:off x="517567" y="4845513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5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8DAB813-F75D-056D-DC0C-681F7203CAAF}"/>
              </a:ext>
            </a:extLst>
          </p:cNvPr>
          <p:cNvSpPr/>
          <p:nvPr/>
        </p:nvSpPr>
        <p:spPr>
          <a:xfrm>
            <a:off x="517567" y="3828535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6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grpSp>
        <p:nvGrpSpPr>
          <p:cNvPr id="30" name="Group 958">
            <a:extLst>
              <a:ext uri="{FF2B5EF4-FFF2-40B4-BE49-F238E27FC236}">
                <a16:creationId xmlns:a16="http://schemas.microsoft.com/office/drawing/2014/main" id="{CA96E55A-79CE-BBDD-10DC-F996B32A82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95907" y="1997849"/>
            <a:ext cx="200187" cy="219488"/>
            <a:chOff x="-3127" y="-1343"/>
            <a:chExt cx="2852" cy="3127"/>
          </a:xfrm>
          <a:solidFill>
            <a:schemeClr val="bg1"/>
          </a:solidFill>
        </p:grpSpPr>
        <p:sp>
          <p:nvSpPr>
            <p:cNvPr id="31" name="Freeform 960">
              <a:extLst>
                <a:ext uri="{FF2B5EF4-FFF2-40B4-BE49-F238E27FC236}">
                  <a16:creationId xmlns:a16="http://schemas.microsoft.com/office/drawing/2014/main" id="{45198881-B6E0-6601-A31F-6E9E54C8F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27" y="-991"/>
              <a:ext cx="2852" cy="2234"/>
            </a:xfrm>
            <a:custGeom>
              <a:avLst/>
              <a:gdLst>
                <a:gd name="T0" fmla="*/ 281 w 5704"/>
                <a:gd name="T1" fmla="*/ 8 h 4470"/>
                <a:gd name="T2" fmla="*/ 1078 w 5704"/>
                <a:gd name="T3" fmla="*/ 248 h 4470"/>
                <a:gd name="T4" fmla="*/ 1140 w 5704"/>
                <a:gd name="T5" fmla="*/ 297 h 4470"/>
                <a:gd name="T6" fmla="*/ 1182 w 5704"/>
                <a:gd name="T7" fmla="*/ 364 h 4470"/>
                <a:gd name="T8" fmla="*/ 1196 w 5704"/>
                <a:gd name="T9" fmla="*/ 407 h 4470"/>
                <a:gd name="T10" fmla="*/ 1386 w 5704"/>
                <a:gd name="T11" fmla="*/ 1176 h 4470"/>
                <a:gd name="T12" fmla="*/ 5385 w 5704"/>
                <a:gd name="T13" fmla="*/ 1547 h 4470"/>
                <a:gd name="T14" fmla="*/ 5499 w 5704"/>
                <a:gd name="T15" fmla="*/ 1577 h 4470"/>
                <a:gd name="T16" fmla="*/ 5594 w 5704"/>
                <a:gd name="T17" fmla="*/ 1636 h 4470"/>
                <a:gd name="T18" fmla="*/ 5663 w 5704"/>
                <a:gd name="T19" fmla="*/ 1722 h 4470"/>
                <a:gd name="T20" fmla="*/ 5701 w 5704"/>
                <a:gd name="T21" fmla="*/ 1822 h 4470"/>
                <a:gd name="T22" fmla="*/ 5699 w 5704"/>
                <a:gd name="T23" fmla="*/ 1933 h 4470"/>
                <a:gd name="T24" fmla="*/ 5419 w 5704"/>
                <a:gd name="T25" fmla="*/ 3312 h 4470"/>
                <a:gd name="T26" fmla="*/ 5358 w 5704"/>
                <a:gd name="T27" fmla="*/ 3409 h 4470"/>
                <a:gd name="T28" fmla="*/ 5265 w 5704"/>
                <a:gd name="T29" fmla="*/ 3479 h 4470"/>
                <a:gd name="T30" fmla="*/ 5151 w 5704"/>
                <a:gd name="T31" fmla="*/ 3519 h 4470"/>
                <a:gd name="T32" fmla="*/ 1842 w 5704"/>
                <a:gd name="T33" fmla="*/ 3523 h 4470"/>
                <a:gd name="T34" fmla="*/ 5032 w 5704"/>
                <a:gd name="T35" fmla="*/ 4029 h 4470"/>
                <a:gd name="T36" fmla="*/ 5128 w 5704"/>
                <a:gd name="T37" fmla="*/ 4051 h 4470"/>
                <a:gd name="T38" fmla="*/ 5203 w 5704"/>
                <a:gd name="T39" fmla="*/ 4110 h 4470"/>
                <a:gd name="T40" fmla="*/ 5246 w 5704"/>
                <a:gd name="T41" fmla="*/ 4198 h 4470"/>
                <a:gd name="T42" fmla="*/ 5246 w 5704"/>
                <a:gd name="T43" fmla="*/ 4299 h 4470"/>
                <a:gd name="T44" fmla="*/ 5203 w 5704"/>
                <a:gd name="T45" fmla="*/ 4386 h 4470"/>
                <a:gd name="T46" fmla="*/ 5128 w 5704"/>
                <a:gd name="T47" fmla="*/ 4447 h 4470"/>
                <a:gd name="T48" fmla="*/ 5032 w 5704"/>
                <a:gd name="T49" fmla="*/ 4468 h 4470"/>
                <a:gd name="T50" fmla="*/ 1720 w 5704"/>
                <a:gd name="T51" fmla="*/ 4466 h 4470"/>
                <a:gd name="T52" fmla="*/ 1639 w 5704"/>
                <a:gd name="T53" fmla="*/ 4428 h 4470"/>
                <a:gd name="T54" fmla="*/ 1578 w 5704"/>
                <a:gd name="T55" fmla="*/ 4363 h 4470"/>
                <a:gd name="T56" fmla="*/ 1547 w 5704"/>
                <a:gd name="T57" fmla="*/ 4280 h 4470"/>
                <a:gd name="T58" fmla="*/ 158 w 5704"/>
                <a:gd name="T59" fmla="*/ 432 h 4470"/>
                <a:gd name="T60" fmla="*/ 80 w 5704"/>
                <a:gd name="T61" fmla="*/ 392 h 4470"/>
                <a:gd name="T62" fmla="*/ 25 w 5704"/>
                <a:gd name="T63" fmla="*/ 326 h 4470"/>
                <a:gd name="T64" fmla="*/ 0 w 5704"/>
                <a:gd name="T65" fmla="*/ 246 h 4470"/>
                <a:gd name="T66" fmla="*/ 8 w 5704"/>
                <a:gd name="T67" fmla="*/ 158 h 4470"/>
                <a:gd name="T68" fmla="*/ 49 w 5704"/>
                <a:gd name="T69" fmla="*/ 80 h 4470"/>
                <a:gd name="T70" fmla="*/ 114 w 5704"/>
                <a:gd name="T71" fmla="*/ 27 h 4470"/>
                <a:gd name="T72" fmla="*/ 194 w 5704"/>
                <a:gd name="T73" fmla="*/ 0 h 4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04" h="4470">
                  <a:moveTo>
                    <a:pt x="238" y="0"/>
                  </a:moveTo>
                  <a:lnTo>
                    <a:pt x="281" y="8"/>
                  </a:lnTo>
                  <a:lnTo>
                    <a:pt x="1038" y="232"/>
                  </a:lnTo>
                  <a:lnTo>
                    <a:pt x="1078" y="248"/>
                  </a:lnTo>
                  <a:lnTo>
                    <a:pt x="1112" y="269"/>
                  </a:lnTo>
                  <a:lnTo>
                    <a:pt x="1140" y="297"/>
                  </a:lnTo>
                  <a:lnTo>
                    <a:pt x="1163" y="328"/>
                  </a:lnTo>
                  <a:lnTo>
                    <a:pt x="1182" y="364"/>
                  </a:lnTo>
                  <a:lnTo>
                    <a:pt x="1190" y="385"/>
                  </a:lnTo>
                  <a:lnTo>
                    <a:pt x="1196" y="407"/>
                  </a:lnTo>
                  <a:lnTo>
                    <a:pt x="1355" y="1176"/>
                  </a:lnTo>
                  <a:lnTo>
                    <a:pt x="1386" y="1176"/>
                  </a:lnTo>
                  <a:lnTo>
                    <a:pt x="1418" y="1178"/>
                  </a:lnTo>
                  <a:lnTo>
                    <a:pt x="5385" y="1547"/>
                  </a:lnTo>
                  <a:lnTo>
                    <a:pt x="5444" y="1558"/>
                  </a:lnTo>
                  <a:lnTo>
                    <a:pt x="5499" y="1577"/>
                  </a:lnTo>
                  <a:lnTo>
                    <a:pt x="5550" y="1604"/>
                  </a:lnTo>
                  <a:lnTo>
                    <a:pt x="5594" y="1636"/>
                  </a:lnTo>
                  <a:lnTo>
                    <a:pt x="5632" y="1676"/>
                  </a:lnTo>
                  <a:lnTo>
                    <a:pt x="5663" y="1722"/>
                  </a:lnTo>
                  <a:lnTo>
                    <a:pt x="5685" y="1769"/>
                  </a:lnTo>
                  <a:lnTo>
                    <a:pt x="5701" y="1822"/>
                  </a:lnTo>
                  <a:lnTo>
                    <a:pt x="5704" y="1876"/>
                  </a:lnTo>
                  <a:lnTo>
                    <a:pt x="5699" y="1933"/>
                  </a:lnTo>
                  <a:lnTo>
                    <a:pt x="5436" y="3256"/>
                  </a:lnTo>
                  <a:lnTo>
                    <a:pt x="5419" y="3312"/>
                  </a:lnTo>
                  <a:lnTo>
                    <a:pt x="5393" y="3363"/>
                  </a:lnTo>
                  <a:lnTo>
                    <a:pt x="5358" y="3409"/>
                  </a:lnTo>
                  <a:lnTo>
                    <a:pt x="5315" y="3448"/>
                  </a:lnTo>
                  <a:lnTo>
                    <a:pt x="5265" y="3479"/>
                  </a:lnTo>
                  <a:lnTo>
                    <a:pt x="5210" y="3504"/>
                  </a:lnTo>
                  <a:lnTo>
                    <a:pt x="5151" y="3519"/>
                  </a:lnTo>
                  <a:lnTo>
                    <a:pt x="5089" y="3523"/>
                  </a:lnTo>
                  <a:lnTo>
                    <a:pt x="1842" y="3523"/>
                  </a:lnTo>
                  <a:lnTo>
                    <a:pt x="1946" y="4030"/>
                  </a:lnTo>
                  <a:lnTo>
                    <a:pt x="5032" y="4029"/>
                  </a:lnTo>
                  <a:lnTo>
                    <a:pt x="5081" y="4034"/>
                  </a:lnTo>
                  <a:lnTo>
                    <a:pt x="5128" y="4051"/>
                  </a:lnTo>
                  <a:lnTo>
                    <a:pt x="5168" y="4076"/>
                  </a:lnTo>
                  <a:lnTo>
                    <a:pt x="5203" y="4110"/>
                  </a:lnTo>
                  <a:lnTo>
                    <a:pt x="5229" y="4152"/>
                  </a:lnTo>
                  <a:lnTo>
                    <a:pt x="5246" y="4198"/>
                  </a:lnTo>
                  <a:lnTo>
                    <a:pt x="5252" y="4249"/>
                  </a:lnTo>
                  <a:lnTo>
                    <a:pt x="5246" y="4299"/>
                  </a:lnTo>
                  <a:lnTo>
                    <a:pt x="5229" y="4346"/>
                  </a:lnTo>
                  <a:lnTo>
                    <a:pt x="5203" y="4386"/>
                  </a:lnTo>
                  <a:lnTo>
                    <a:pt x="5168" y="4420"/>
                  </a:lnTo>
                  <a:lnTo>
                    <a:pt x="5128" y="4447"/>
                  </a:lnTo>
                  <a:lnTo>
                    <a:pt x="5081" y="4462"/>
                  </a:lnTo>
                  <a:lnTo>
                    <a:pt x="5032" y="4468"/>
                  </a:lnTo>
                  <a:lnTo>
                    <a:pt x="1766" y="4470"/>
                  </a:lnTo>
                  <a:lnTo>
                    <a:pt x="1720" y="4466"/>
                  </a:lnTo>
                  <a:lnTo>
                    <a:pt x="1677" y="4451"/>
                  </a:lnTo>
                  <a:lnTo>
                    <a:pt x="1639" y="4428"/>
                  </a:lnTo>
                  <a:lnTo>
                    <a:pt x="1604" y="4399"/>
                  </a:lnTo>
                  <a:lnTo>
                    <a:pt x="1578" y="4363"/>
                  </a:lnTo>
                  <a:lnTo>
                    <a:pt x="1559" y="4323"/>
                  </a:lnTo>
                  <a:lnTo>
                    <a:pt x="1547" y="4280"/>
                  </a:lnTo>
                  <a:lnTo>
                    <a:pt x="789" y="619"/>
                  </a:lnTo>
                  <a:lnTo>
                    <a:pt x="158" y="432"/>
                  </a:lnTo>
                  <a:lnTo>
                    <a:pt x="116" y="415"/>
                  </a:lnTo>
                  <a:lnTo>
                    <a:pt x="80" y="392"/>
                  </a:lnTo>
                  <a:lnTo>
                    <a:pt x="49" y="362"/>
                  </a:lnTo>
                  <a:lnTo>
                    <a:pt x="25" y="326"/>
                  </a:lnTo>
                  <a:lnTo>
                    <a:pt x="10" y="288"/>
                  </a:lnTo>
                  <a:lnTo>
                    <a:pt x="0" y="246"/>
                  </a:lnTo>
                  <a:lnTo>
                    <a:pt x="0" y="202"/>
                  </a:lnTo>
                  <a:lnTo>
                    <a:pt x="8" y="158"/>
                  </a:lnTo>
                  <a:lnTo>
                    <a:pt x="25" y="116"/>
                  </a:lnTo>
                  <a:lnTo>
                    <a:pt x="49" y="80"/>
                  </a:lnTo>
                  <a:lnTo>
                    <a:pt x="80" y="50"/>
                  </a:lnTo>
                  <a:lnTo>
                    <a:pt x="114" y="27"/>
                  </a:lnTo>
                  <a:lnTo>
                    <a:pt x="154" y="10"/>
                  </a:lnTo>
                  <a:lnTo>
                    <a:pt x="194" y="0"/>
                  </a:lnTo>
                  <a:lnTo>
                    <a:pt x="2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961">
              <a:extLst>
                <a:ext uri="{FF2B5EF4-FFF2-40B4-BE49-F238E27FC236}">
                  <a16:creationId xmlns:a16="http://schemas.microsoft.com/office/drawing/2014/main" id="{4816E779-B5EE-BD3D-4746-3C9E22CE9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50" y="1343"/>
              <a:ext cx="440" cy="441"/>
            </a:xfrm>
            <a:custGeom>
              <a:avLst/>
              <a:gdLst>
                <a:gd name="T0" fmla="*/ 439 w 880"/>
                <a:gd name="T1" fmla="*/ 0 h 883"/>
                <a:gd name="T2" fmla="*/ 511 w 880"/>
                <a:gd name="T3" fmla="*/ 6 h 883"/>
                <a:gd name="T4" fmla="*/ 580 w 880"/>
                <a:gd name="T5" fmla="*/ 23 h 883"/>
                <a:gd name="T6" fmla="*/ 643 w 880"/>
                <a:gd name="T7" fmla="*/ 50 h 883"/>
                <a:gd name="T8" fmla="*/ 700 w 880"/>
                <a:gd name="T9" fmla="*/ 86 h 883"/>
                <a:gd name="T10" fmla="*/ 751 w 880"/>
                <a:gd name="T11" fmla="*/ 130 h 883"/>
                <a:gd name="T12" fmla="*/ 795 w 880"/>
                <a:gd name="T13" fmla="*/ 181 h 883"/>
                <a:gd name="T14" fmla="*/ 831 w 880"/>
                <a:gd name="T15" fmla="*/ 238 h 883"/>
                <a:gd name="T16" fmla="*/ 857 w 880"/>
                <a:gd name="T17" fmla="*/ 303 h 883"/>
                <a:gd name="T18" fmla="*/ 874 w 880"/>
                <a:gd name="T19" fmla="*/ 369 h 883"/>
                <a:gd name="T20" fmla="*/ 880 w 880"/>
                <a:gd name="T21" fmla="*/ 442 h 883"/>
                <a:gd name="T22" fmla="*/ 874 w 880"/>
                <a:gd name="T23" fmla="*/ 512 h 883"/>
                <a:gd name="T24" fmla="*/ 857 w 880"/>
                <a:gd name="T25" fmla="*/ 580 h 883"/>
                <a:gd name="T26" fmla="*/ 831 w 880"/>
                <a:gd name="T27" fmla="*/ 643 h 883"/>
                <a:gd name="T28" fmla="*/ 795 w 880"/>
                <a:gd name="T29" fmla="*/ 702 h 883"/>
                <a:gd name="T30" fmla="*/ 751 w 880"/>
                <a:gd name="T31" fmla="*/ 754 h 883"/>
                <a:gd name="T32" fmla="*/ 700 w 880"/>
                <a:gd name="T33" fmla="*/ 797 h 883"/>
                <a:gd name="T34" fmla="*/ 643 w 880"/>
                <a:gd name="T35" fmla="*/ 833 h 883"/>
                <a:gd name="T36" fmla="*/ 580 w 880"/>
                <a:gd name="T37" fmla="*/ 860 h 883"/>
                <a:gd name="T38" fmla="*/ 511 w 880"/>
                <a:gd name="T39" fmla="*/ 877 h 883"/>
                <a:gd name="T40" fmla="*/ 439 w 880"/>
                <a:gd name="T41" fmla="*/ 883 h 883"/>
                <a:gd name="T42" fmla="*/ 369 w 880"/>
                <a:gd name="T43" fmla="*/ 877 h 883"/>
                <a:gd name="T44" fmla="*/ 300 w 880"/>
                <a:gd name="T45" fmla="*/ 860 h 883"/>
                <a:gd name="T46" fmla="*/ 238 w 880"/>
                <a:gd name="T47" fmla="*/ 833 h 883"/>
                <a:gd name="T48" fmla="*/ 181 w 880"/>
                <a:gd name="T49" fmla="*/ 797 h 883"/>
                <a:gd name="T50" fmla="*/ 129 w 880"/>
                <a:gd name="T51" fmla="*/ 754 h 883"/>
                <a:gd name="T52" fmla="*/ 86 w 880"/>
                <a:gd name="T53" fmla="*/ 702 h 883"/>
                <a:gd name="T54" fmla="*/ 49 w 880"/>
                <a:gd name="T55" fmla="*/ 643 h 883"/>
                <a:gd name="T56" fmla="*/ 23 w 880"/>
                <a:gd name="T57" fmla="*/ 580 h 883"/>
                <a:gd name="T58" fmla="*/ 6 w 880"/>
                <a:gd name="T59" fmla="*/ 512 h 883"/>
                <a:gd name="T60" fmla="*/ 0 w 880"/>
                <a:gd name="T61" fmla="*/ 442 h 883"/>
                <a:gd name="T62" fmla="*/ 6 w 880"/>
                <a:gd name="T63" fmla="*/ 369 h 883"/>
                <a:gd name="T64" fmla="*/ 23 w 880"/>
                <a:gd name="T65" fmla="*/ 303 h 883"/>
                <a:gd name="T66" fmla="*/ 49 w 880"/>
                <a:gd name="T67" fmla="*/ 238 h 883"/>
                <a:gd name="T68" fmla="*/ 86 w 880"/>
                <a:gd name="T69" fmla="*/ 181 h 883"/>
                <a:gd name="T70" fmla="*/ 129 w 880"/>
                <a:gd name="T71" fmla="*/ 130 h 883"/>
                <a:gd name="T72" fmla="*/ 181 w 880"/>
                <a:gd name="T73" fmla="*/ 86 h 883"/>
                <a:gd name="T74" fmla="*/ 238 w 880"/>
                <a:gd name="T75" fmla="*/ 50 h 883"/>
                <a:gd name="T76" fmla="*/ 300 w 880"/>
                <a:gd name="T77" fmla="*/ 23 h 883"/>
                <a:gd name="T78" fmla="*/ 369 w 880"/>
                <a:gd name="T79" fmla="*/ 6 h 883"/>
                <a:gd name="T80" fmla="*/ 439 w 880"/>
                <a:gd name="T81" fmla="*/ 0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0" h="883">
                  <a:moveTo>
                    <a:pt x="439" y="0"/>
                  </a:moveTo>
                  <a:lnTo>
                    <a:pt x="511" y="6"/>
                  </a:lnTo>
                  <a:lnTo>
                    <a:pt x="580" y="23"/>
                  </a:lnTo>
                  <a:lnTo>
                    <a:pt x="643" y="50"/>
                  </a:lnTo>
                  <a:lnTo>
                    <a:pt x="700" y="86"/>
                  </a:lnTo>
                  <a:lnTo>
                    <a:pt x="751" y="130"/>
                  </a:lnTo>
                  <a:lnTo>
                    <a:pt x="795" y="181"/>
                  </a:lnTo>
                  <a:lnTo>
                    <a:pt x="831" y="238"/>
                  </a:lnTo>
                  <a:lnTo>
                    <a:pt x="857" y="303"/>
                  </a:lnTo>
                  <a:lnTo>
                    <a:pt x="874" y="369"/>
                  </a:lnTo>
                  <a:lnTo>
                    <a:pt x="880" y="442"/>
                  </a:lnTo>
                  <a:lnTo>
                    <a:pt x="874" y="512"/>
                  </a:lnTo>
                  <a:lnTo>
                    <a:pt x="857" y="580"/>
                  </a:lnTo>
                  <a:lnTo>
                    <a:pt x="831" y="643"/>
                  </a:lnTo>
                  <a:lnTo>
                    <a:pt x="795" y="702"/>
                  </a:lnTo>
                  <a:lnTo>
                    <a:pt x="751" y="754"/>
                  </a:lnTo>
                  <a:lnTo>
                    <a:pt x="700" y="797"/>
                  </a:lnTo>
                  <a:lnTo>
                    <a:pt x="643" y="833"/>
                  </a:lnTo>
                  <a:lnTo>
                    <a:pt x="580" y="860"/>
                  </a:lnTo>
                  <a:lnTo>
                    <a:pt x="511" y="877"/>
                  </a:lnTo>
                  <a:lnTo>
                    <a:pt x="439" y="883"/>
                  </a:lnTo>
                  <a:lnTo>
                    <a:pt x="369" y="877"/>
                  </a:lnTo>
                  <a:lnTo>
                    <a:pt x="300" y="860"/>
                  </a:lnTo>
                  <a:lnTo>
                    <a:pt x="238" y="833"/>
                  </a:lnTo>
                  <a:lnTo>
                    <a:pt x="181" y="797"/>
                  </a:lnTo>
                  <a:lnTo>
                    <a:pt x="129" y="754"/>
                  </a:lnTo>
                  <a:lnTo>
                    <a:pt x="86" y="702"/>
                  </a:lnTo>
                  <a:lnTo>
                    <a:pt x="49" y="643"/>
                  </a:lnTo>
                  <a:lnTo>
                    <a:pt x="23" y="580"/>
                  </a:lnTo>
                  <a:lnTo>
                    <a:pt x="6" y="512"/>
                  </a:lnTo>
                  <a:lnTo>
                    <a:pt x="0" y="442"/>
                  </a:lnTo>
                  <a:lnTo>
                    <a:pt x="6" y="369"/>
                  </a:lnTo>
                  <a:lnTo>
                    <a:pt x="23" y="303"/>
                  </a:lnTo>
                  <a:lnTo>
                    <a:pt x="49" y="238"/>
                  </a:lnTo>
                  <a:lnTo>
                    <a:pt x="86" y="181"/>
                  </a:lnTo>
                  <a:lnTo>
                    <a:pt x="129" y="130"/>
                  </a:lnTo>
                  <a:lnTo>
                    <a:pt x="181" y="86"/>
                  </a:lnTo>
                  <a:lnTo>
                    <a:pt x="238" y="50"/>
                  </a:lnTo>
                  <a:lnTo>
                    <a:pt x="300" y="23"/>
                  </a:lnTo>
                  <a:lnTo>
                    <a:pt x="369" y="6"/>
                  </a:lnTo>
                  <a:lnTo>
                    <a:pt x="4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962">
              <a:extLst>
                <a:ext uri="{FF2B5EF4-FFF2-40B4-BE49-F238E27FC236}">
                  <a16:creationId xmlns:a16="http://schemas.microsoft.com/office/drawing/2014/main" id="{914E4564-9165-0798-D5C6-C3CA359A0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98" y="1343"/>
              <a:ext cx="440" cy="441"/>
            </a:xfrm>
            <a:custGeom>
              <a:avLst/>
              <a:gdLst>
                <a:gd name="T0" fmla="*/ 441 w 880"/>
                <a:gd name="T1" fmla="*/ 0 h 883"/>
                <a:gd name="T2" fmla="*/ 512 w 880"/>
                <a:gd name="T3" fmla="*/ 6 h 883"/>
                <a:gd name="T4" fmla="*/ 580 w 880"/>
                <a:gd name="T5" fmla="*/ 23 h 883"/>
                <a:gd name="T6" fmla="*/ 643 w 880"/>
                <a:gd name="T7" fmla="*/ 50 h 883"/>
                <a:gd name="T8" fmla="*/ 700 w 880"/>
                <a:gd name="T9" fmla="*/ 86 h 883"/>
                <a:gd name="T10" fmla="*/ 751 w 880"/>
                <a:gd name="T11" fmla="*/ 130 h 883"/>
                <a:gd name="T12" fmla="*/ 797 w 880"/>
                <a:gd name="T13" fmla="*/ 181 h 883"/>
                <a:gd name="T14" fmla="*/ 831 w 880"/>
                <a:gd name="T15" fmla="*/ 238 h 883"/>
                <a:gd name="T16" fmla="*/ 859 w 880"/>
                <a:gd name="T17" fmla="*/ 303 h 883"/>
                <a:gd name="T18" fmla="*/ 875 w 880"/>
                <a:gd name="T19" fmla="*/ 369 h 883"/>
                <a:gd name="T20" fmla="*/ 880 w 880"/>
                <a:gd name="T21" fmla="*/ 442 h 883"/>
                <a:gd name="T22" fmla="*/ 875 w 880"/>
                <a:gd name="T23" fmla="*/ 512 h 883"/>
                <a:gd name="T24" fmla="*/ 859 w 880"/>
                <a:gd name="T25" fmla="*/ 580 h 883"/>
                <a:gd name="T26" fmla="*/ 831 w 880"/>
                <a:gd name="T27" fmla="*/ 643 h 883"/>
                <a:gd name="T28" fmla="*/ 797 w 880"/>
                <a:gd name="T29" fmla="*/ 702 h 883"/>
                <a:gd name="T30" fmla="*/ 751 w 880"/>
                <a:gd name="T31" fmla="*/ 754 h 883"/>
                <a:gd name="T32" fmla="*/ 700 w 880"/>
                <a:gd name="T33" fmla="*/ 797 h 883"/>
                <a:gd name="T34" fmla="*/ 643 w 880"/>
                <a:gd name="T35" fmla="*/ 833 h 883"/>
                <a:gd name="T36" fmla="*/ 580 w 880"/>
                <a:gd name="T37" fmla="*/ 860 h 883"/>
                <a:gd name="T38" fmla="*/ 512 w 880"/>
                <a:gd name="T39" fmla="*/ 877 h 883"/>
                <a:gd name="T40" fmla="*/ 441 w 880"/>
                <a:gd name="T41" fmla="*/ 883 h 883"/>
                <a:gd name="T42" fmla="*/ 369 w 880"/>
                <a:gd name="T43" fmla="*/ 877 h 883"/>
                <a:gd name="T44" fmla="*/ 301 w 880"/>
                <a:gd name="T45" fmla="*/ 860 h 883"/>
                <a:gd name="T46" fmla="*/ 238 w 880"/>
                <a:gd name="T47" fmla="*/ 833 h 883"/>
                <a:gd name="T48" fmla="*/ 181 w 880"/>
                <a:gd name="T49" fmla="*/ 797 h 883"/>
                <a:gd name="T50" fmla="*/ 130 w 880"/>
                <a:gd name="T51" fmla="*/ 754 h 883"/>
                <a:gd name="T52" fmla="*/ 86 w 880"/>
                <a:gd name="T53" fmla="*/ 702 h 883"/>
                <a:gd name="T54" fmla="*/ 50 w 880"/>
                <a:gd name="T55" fmla="*/ 643 h 883"/>
                <a:gd name="T56" fmla="*/ 23 w 880"/>
                <a:gd name="T57" fmla="*/ 580 h 883"/>
                <a:gd name="T58" fmla="*/ 6 w 880"/>
                <a:gd name="T59" fmla="*/ 512 h 883"/>
                <a:gd name="T60" fmla="*/ 0 w 880"/>
                <a:gd name="T61" fmla="*/ 442 h 883"/>
                <a:gd name="T62" fmla="*/ 6 w 880"/>
                <a:gd name="T63" fmla="*/ 369 h 883"/>
                <a:gd name="T64" fmla="*/ 23 w 880"/>
                <a:gd name="T65" fmla="*/ 303 h 883"/>
                <a:gd name="T66" fmla="*/ 50 w 880"/>
                <a:gd name="T67" fmla="*/ 238 h 883"/>
                <a:gd name="T68" fmla="*/ 86 w 880"/>
                <a:gd name="T69" fmla="*/ 181 h 883"/>
                <a:gd name="T70" fmla="*/ 130 w 880"/>
                <a:gd name="T71" fmla="*/ 130 h 883"/>
                <a:gd name="T72" fmla="*/ 181 w 880"/>
                <a:gd name="T73" fmla="*/ 86 h 883"/>
                <a:gd name="T74" fmla="*/ 238 w 880"/>
                <a:gd name="T75" fmla="*/ 50 h 883"/>
                <a:gd name="T76" fmla="*/ 301 w 880"/>
                <a:gd name="T77" fmla="*/ 23 h 883"/>
                <a:gd name="T78" fmla="*/ 369 w 880"/>
                <a:gd name="T79" fmla="*/ 6 h 883"/>
                <a:gd name="T80" fmla="*/ 441 w 880"/>
                <a:gd name="T81" fmla="*/ 0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0" h="883">
                  <a:moveTo>
                    <a:pt x="441" y="0"/>
                  </a:moveTo>
                  <a:lnTo>
                    <a:pt x="512" y="6"/>
                  </a:lnTo>
                  <a:lnTo>
                    <a:pt x="580" y="23"/>
                  </a:lnTo>
                  <a:lnTo>
                    <a:pt x="643" y="50"/>
                  </a:lnTo>
                  <a:lnTo>
                    <a:pt x="700" y="86"/>
                  </a:lnTo>
                  <a:lnTo>
                    <a:pt x="751" y="130"/>
                  </a:lnTo>
                  <a:lnTo>
                    <a:pt x="797" y="181"/>
                  </a:lnTo>
                  <a:lnTo>
                    <a:pt x="831" y="238"/>
                  </a:lnTo>
                  <a:lnTo>
                    <a:pt x="859" y="303"/>
                  </a:lnTo>
                  <a:lnTo>
                    <a:pt x="875" y="369"/>
                  </a:lnTo>
                  <a:lnTo>
                    <a:pt x="880" y="442"/>
                  </a:lnTo>
                  <a:lnTo>
                    <a:pt x="875" y="512"/>
                  </a:lnTo>
                  <a:lnTo>
                    <a:pt x="859" y="580"/>
                  </a:lnTo>
                  <a:lnTo>
                    <a:pt x="831" y="643"/>
                  </a:lnTo>
                  <a:lnTo>
                    <a:pt x="797" y="702"/>
                  </a:lnTo>
                  <a:lnTo>
                    <a:pt x="751" y="754"/>
                  </a:lnTo>
                  <a:lnTo>
                    <a:pt x="700" y="797"/>
                  </a:lnTo>
                  <a:lnTo>
                    <a:pt x="643" y="833"/>
                  </a:lnTo>
                  <a:lnTo>
                    <a:pt x="580" y="860"/>
                  </a:lnTo>
                  <a:lnTo>
                    <a:pt x="512" y="877"/>
                  </a:lnTo>
                  <a:lnTo>
                    <a:pt x="441" y="883"/>
                  </a:lnTo>
                  <a:lnTo>
                    <a:pt x="369" y="877"/>
                  </a:lnTo>
                  <a:lnTo>
                    <a:pt x="301" y="860"/>
                  </a:lnTo>
                  <a:lnTo>
                    <a:pt x="238" y="833"/>
                  </a:lnTo>
                  <a:lnTo>
                    <a:pt x="181" y="797"/>
                  </a:lnTo>
                  <a:lnTo>
                    <a:pt x="130" y="754"/>
                  </a:lnTo>
                  <a:lnTo>
                    <a:pt x="86" y="702"/>
                  </a:lnTo>
                  <a:lnTo>
                    <a:pt x="50" y="643"/>
                  </a:lnTo>
                  <a:lnTo>
                    <a:pt x="23" y="580"/>
                  </a:lnTo>
                  <a:lnTo>
                    <a:pt x="6" y="512"/>
                  </a:lnTo>
                  <a:lnTo>
                    <a:pt x="0" y="442"/>
                  </a:lnTo>
                  <a:lnTo>
                    <a:pt x="6" y="369"/>
                  </a:lnTo>
                  <a:lnTo>
                    <a:pt x="23" y="303"/>
                  </a:lnTo>
                  <a:lnTo>
                    <a:pt x="50" y="238"/>
                  </a:lnTo>
                  <a:lnTo>
                    <a:pt x="86" y="181"/>
                  </a:lnTo>
                  <a:lnTo>
                    <a:pt x="130" y="130"/>
                  </a:lnTo>
                  <a:lnTo>
                    <a:pt x="181" y="86"/>
                  </a:lnTo>
                  <a:lnTo>
                    <a:pt x="238" y="50"/>
                  </a:lnTo>
                  <a:lnTo>
                    <a:pt x="301" y="23"/>
                  </a:lnTo>
                  <a:lnTo>
                    <a:pt x="369" y="6"/>
                  </a:lnTo>
                  <a:lnTo>
                    <a:pt x="4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963">
              <a:extLst>
                <a:ext uri="{FF2B5EF4-FFF2-40B4-BE49-F238E27FC236}">
                  <a16:creationId xmlns:a16="http://schemas.microsoft.com/office/drawing/2014/main" id="{ADFD4E72-27B0-D0BB-A7CC-2EDA8A8FF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9" y="-1343"/>
              <a:ext cx="1598" cy="992"/>
            </a:xfrm>
            <a:custGeom>
              <a:avLst/>
              <a:gdLst>
                <a:gd name="T0" fmla="*/ 1857 w 3197"/>
                <a:gd name="T1" fmla="*/ 21 h 1983"/>
                <a:gd name="T2" fmla="*/ 1926 w 3197"/>
                <a:gd name="T3" fmla="*/ 45 h 1983"/>
                <a:gd name="T4" fmla="*/ 1969 w 3197"/>
                <a:gd name="T5" fmla="*/ 99 h 1983"/>
                <a:gd name="T6" fmla="*/ 1981 w 3197"/>
                <a:gd name="T7" fmla="*/ 171 h 1983"/>
                <a:gd name="T8" fmla="*/ 2059 w 3197"/>
                <a:gd name="T9" fmla="*/ 409 h 1983"/>
                <a:gd name="T10" fmla="*/ 2239 w 3197"/>
                <a:gd name="T11" fmla="*/ 496 h 1983"/>
                <a:gd name="T12" fmla="*/ 2403 w 3197"/>
                <a:gd name="T13" fmla="*/ 608 h 1983"/>
                <a:gd name="T14" fmla="*/ 2595 w 3197"/>
                <a:gd name="T15" fmla="*/ 458 h 1983"/>
                <a:gd name="T16" fmla="*/ 2663 w 3197"/>
                <a:gd name="T17" fmla="*/ 447 h 1983"/>
                <a:gd name="T18" fmla="*/ 2730 w 3197"/>
                <a:gd name="T19" fmla="*/ 470 h 1983"/>
                <a:gd name="T20" fmla="*/ 2899 w 3197"/>
                <a:gd name="T21" fmla="*/ 665 h 1983"/>
                <a:gd name="T22" fmla="*/ 2927 w 3197"/>
                <a:gd name="T23" fmla="*/ 732 h 1983"/>
                <a:gd name="T24" fmla="*/ 2922 w 3197"/>
                <a:gd name="T25" fmla="*/ 802 h 1983"/>
                <a:gd name="T26" fmla="*/ 2880 w 3197"/>
                <a:gd name="T27" fmla="*/ 861 h 1983"/>
                <a:gd name="T28" fmla="*/ 2766 w 3197"/>
                <a:gd name="T29" fmla="*/ 1082 h 1983"/>
                <a:gd name="T30" fmla="*/ 2832 w 3197"/>
                <a:gd name="T31" fmla="*/ 1270 h 1983"/>
                <a:gd name="T32" fmla="*/ 2868 w 3197"/>
                <a:gd name="T33" fmla="*/ 1470 h 1983"/>
                <a:gd name="T34" fmla="*/ 3110 w 3197"/>
                <a:gd name="T35" fmla="*/ 1497 h 1983"/>
                <a:gd name="T36" fmla="*/ 3167 w 3197"/>
                <a:gd name="T37" fmla="*/ 1536 h 1983"/>
                <a:gd name="T38" fmla="*/ 3195 w 3197"/>
                <a:gd name="T39" fmla="*/ 1601 h 1983"/>
                <a:gd name="T40" fmla="*/ 3176 w 3197"/>
                <a:gd name="T41" fmla="*/ 1858 h 1983"/>
                <a:gd name="T42" fmla="*/ 3152 w 3197"/>
                <a:gd name="T43" fmla="*/ 1926 h 1983"/>
                <a:gd name="T44" fmla="*/ 3098 w 3197"/>
                <a:gd name="T45" fmla="*/ 1970 h 1983"/>
                <a:gd name="T46" fmla="*/ 3028 w 3197"/>
                <a:gd name="T47" fmla="*/ 1983 h 1983"/>
                <a:gd name="T48" fmla="*/ 2180 w 3197"/>
                <a:gd name="T49" fmla="*/ 1904 h 1983"/>
                <a:gd name="T50" fmla="*/ 2205 w 3197"/>
                <a:gd name="T51" fmla="*/ 1573 h 1983"/>
                <a:gd name="T52" fmla="*/ 2177 w 3197"/>
                <a:gd name="T53" fmla="*/ 1417 h 1983"/>
                <a:gd name="T54" fmla="*/ 2112 w 3197"/>
                <a:gd name="T55" fmla="*/ 1274 h 1983"/>
                <a:gd name="T56" fmla="*/ 2013 w 3197"/>
                <a:gd name="T57" fmla="*/ 1154 h 1983"/>
                <a:gd name="T58" fmla="*/ 1886 w 3197"/>
                <a:gd name="T59" fmla="*/ 1063 h 1983"/>
                <a:gd name="T60" fmla="*/ 1737 w 3197"/>
                <a:gd name="T61" fmla="*/ 1008 h 1983"/>
                <a:gd name="T62" fmla="*/ 1572 w 3197"/>
                <a:gd name="T63" fmla="*/ 993 h 1983"/>
                <a:gd name="T64" fmla="*/ 1414 w 3197"/>
                <a:gd name="T65" fmla="*/ 1019 h 1983"/>
                <a:gd name="T66" fmla="*/ 1274 w 3197"/>
                <a:gd name="T67" fmla="*/ 1086 h 1983"/>
                <a:gd name="T68" fmla="*/ 1154 w 3197"/>
                <a:gd name="T69" fmla="*/ 1185 h 1983"/>
                <a:gd name="T70" fmla="*/ 1063 w 3197"/>
                <a:gd name="T71" fmla="*/ 1310 h 1983"/>
                <a:gd name="T72" fmla="*/ 1006 w 3197"/>
                <a:gd name="T73" fmla="*/ 1460 h 1983"/>
                <a:gd name="T74" fmla="*/ 970 w 3197"/>
                <a:gd name="T75" fmla="*/ 1789 h 1983"/>
                <a:gd name="T76" fmla="*/ 171 w 3197"/>
                <a:gd name="T77" fmla="*/ 1715 h 1983"/>
                <a:gd name="T78" fmla="*/ 86 w 3197"/>
                <a:gd name="T79" fmla="*/ 1702 h 1983"/>
                <a:gd name="T80" fmla="*/ 29 w 3197"/>
                <a:gd name="T81" fmla="*/ 1660 h 1983"/>
                <a:gd name="T82" fmla="*/ 0 w 3197"/>
                <a:gd name="T83" fmla="*/ 1597 h 1983"/>
                <a:gd name="T84" fmla="*/ 21 w 3197"/>
                <a:gd name="T85" fmla="*/ 1339 h 1983"/>
                <a:gd name="T86" fmla="*/ 46 w 3197"/>
                <a:gd name="T87" fmla="*/ 1272 h 1983"/>
                <a:gd name="T88" fmla="*/ 101 w 3197"/>
                <a:gd name="T89" fmla="*/ 1226 h 1983"/>
                <a:gd name="T90" fmla="*/ 171 w 3197"/>
                <a:gd name="T91" fmla="*/ 1215 h 1983"/>
                <a:gd name="T92" fmla="*/ 409 w 3197"/>
                <a:gd name="T93" fmla="*/ 1139 h 1983"/>
                <a:gd name="T94" fmla="*/ 496 w 3197"/>
                <a:gd name="T95" fmla="*/ 956 h 1983"/>
                <a:gd name="T96" fmla="*/ 608 w 3197"/>
                <a:gd name="T97" fmla="*/ 795 h 1983"/>
                <a:gd name="T98" fmla="*/ 458 w 3197"/>
                <a:gd name="T99" fmla="*/ 605 h 1983"/>
                <a:gd name="T100" fmla="*/ 447 w 3197"/>
                <a:gd name="T101" fmla="*/ 534 h 1983"/>
                <a:gd name="T102" fmla="*/ 470 w 3197"/>
                <a:gd name="T103" fmla="*/ 468 h 1983"/>
                <a:gd name="T104" fmla="*/ 665 w 3197"/>
                <a:gd name="T105" fmla="*/ 300 h 1983"/>
                <a:gd name="T106" fmla="*/ 732 w 3197"/>
                <a:gd name="T107" fmla="*/ 270 h 1983"/>
                <a:gd name="T108" fmla="*/ 800 w 3197"/>
                <a:gd name="T109" fmla="*/ 276 h 1983"/>
                <a:gd name="T110" fmla="*/ 859 w 3197"/>
                <a:gd name="T111" fmla="*/ 317 h 1983"/>
                <a:gd name="T112" fmla="*/ 1080 w 3197"/>
                <a:gd name="T113" fmla="*/ 432 h 1983"/>
                <a:gd name="T114" fmla="*/ 1268 w 3197"/>
                <a:gd name="T115" fmla="*/ 365 h 1983"/>
                <a:gd name="T116" fmla="*/ 1468 w 3197"/>
                <a:gd name="T117" fmla="*/ 329 h 1983"/>
                <a:gd name="T118" fmla="*/ 1496 w 3197"/>
                <a:gd name="T119" fmla="*/ 87 h 1983"/>
                <a:gd name="T120" fmla="*/ 1536 w 3197"/>
                <a:gd name="T121" fmla="*/ 30 h 1983"/>
                <a:gd name="T122" fmla="*/ 1601 w 3197"/>
                <a:gd name="T123" fmla="*/ 2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97" h="1983">
                  <a:moveTo>
                    <a:pt x="1637" y="0"/>
                  </a:moveTo>
                  <a:lnTo>
                    <a:pt x="1857" y="21"/>
                  </a:lnTo>
                  <a:lnTo>
                    <a:pt x="1893" y="28"/>
                  </a:lnTo>
                  <a:lnTo>
                    <a:pt x="1926" y="45"/>
                  </a:lnTo>
                  <a:lnTo>
                    <a:pt x="1950" y="70"/>
                  </a:lnTo>
                  <a:lnTo>
                    <a:pt x="1969" y="99"/>
                  </a:lnTo>
                  <a:lnTo>
                    <a:pt x="1981" y="133"/>
                  </a:lnTo>
                  <a:lnTo>
                    <a:pt x="1981" y="171"/>
                  </a:lnTo>
                  <a:lnTo>
                    <a:pt x="1962" y="374"/>
                  </a:lnTo>
                  <a:lnTo>
                    <a:pt x="2059" y="409"/>
                  </a:lnTo>
                  <a:lnTo>
                    <a:pt x="2152" y="449"/>
                  </a:lnTo>
                  <a:lnTo>
                    <a:pt x="2239" y="496"/>
                  </a:lnTo>
                  <a:lnTo>
                    <a:pt x="2323" y="549"/>
                  </a:lnTo>
                  <a:lnTo>
                    <a:pt x="2403" y="608"/>
                  </a:lnTo>
                  <a:lnTo>
                    <a:pt x="2562" y="477"/>
                  </a:lnTo>
                  <a:lnTo>
                    <a:pt x="2595" y="458"/>
                  </a:lnTo>
                  <a:lnTo>
                    <a:pt x="2629" y="447"/>
                  </a:lnTo>
                  <a:lnTo>
                    <a:pt x="2663" y="447"/>
                  </a:lnTo>
                  <a:lnTo>
                    <a:pt x="2697" y="454"/>
                  </a:lnTo>
                  <a:lnTo>
                    <a:pt x="2730" y="470"/>
                  </a:lnTo>
                  <a:lnTo>
                    <a:pt x="2756" y="496"/>
                  </a:lnTo>
                  <a:lnTo>
                    <a:pt x="2899" y="665"/>
                  </a:lnTo>
                  <a:lnTo>
                    <a:pt x="2918" y="698"/>
                  </a:lnTo>
                  <a:lnTo>
                    <a:pt x="2927" y="732"/>
                  </a:lnTo>
                  <a:lnTo>
                    <a:pt x="2929" y="766"/>
                  </a:lnTo>
                  <a:lnTo>
                    <a:pt x="2922" y="802"/>
                  </a:lnTo>
                  <a:lnTo>
                    <a:pt x="2905" y="833"/>
                  </a:lnTo>
                  <a:lnTo>
                    <a:pt x="2880" y="861"/>
                  </a:lnTo>
                  <a:lnTo>
                    <a:pt x="2722" y="993"/>
                  </a:lnTo>
                  <a:lnTo>
                    <a:pt x="2766" y="1082"/>
                  </a:lnTo>
                  <a:lnTo>
                    <a:pt x="2802" y="1173"/>
                  </a:lnTo>
                  <a:lnTo>
                    <a:pt x="2832" y="1270"/>
                  </a:lnTo>
                  <a:lnTo>
                    <a:pt x="2855" y="1367"/>
                  </a:lnTo>
                  <a:lnTo>
                    <a:pt x="2868" y="1470"/>
                  </a:lnTo>
                  <a:lnTo>
                    <a:pt x="3074" y="1489"/>
                  </a:lnTo>
                  <a:lnTo>
                    <a:pt x="3110" y="1497"/>
                  </a:lnTo>
                  <a:lnTo>
                    <a:pt x="3140" y="1514"/>
                  </a:lnTo>
                  <a:lnTo>
                    <a:pt x="3167" y="1536"/>
                  </a:lnTo>
                  <a:lnTo>
                    <a:pt x="3186" y="1567"/>
                  </a:lnTo>
                  <a:lnTo>
                    <a:pt x="3195" y="1601"/>
                  </a:lnTo>
                  <a:lnTo>
                    <a:pt x="3197" y="1637"/>
                  </a:lnTo>
                  <a:lnTo>
                    <a:pt x="3176" y="1858"/>
                  </a:lnTo>
                  <a:lnTo>
                    <a:pt x="3169" y="1894"/>
                  </a:lnTo>
                  <a:lnTo>
                    <a:pt x="3152" y="1926"/>
                  </a:lnTo>
                  <a:lnTo>
                    <a:pt x="3129" y="1951"/>
                  </a:lnTo>
                  <a:lnTo>
                    <a:pt x="3098" y="1970"/>
                  </a:lnTo>
                  <a:lnTo>
                    <a:pt x="3064" y="1981"/>
                  </a:lnTo>
                  <a:lnTo>
                    <a:pt x="3028" y="1983"/>
                  </a:lnTo>
                  <a:lnTo>
                    <a:pt x="2823" y="1962"/>
                  </a:lnTo>
                  <a:lnTo>
                    <a:pt x="2180" y="1904"/>
                  </a:lnTo>
                  <a:lnTo>
                    <a:pt x="2203" y="1656"/>
                  </a:lnTo>
                  <a:lnTo>
                    <a:pt x="2205" y="1573"/>
                  </a:lnTo>
                  <a:lnTo>
                    <a:pt x="2196" y="1493"/>
                  </a:lnTo>
                  <a:lnTo>
                    <a:pt x="2177" y="1417"/>
                  </a:lnTo>
                  <a:lnTo>
                    <a:pt x="2148" y="1342"/>
                  </a:lnTo>
                  <a:lnTo>
                    <a:pt x="2112" y="1274"/>
                  </a:lnTo>
                  <a:lnTo>
                    <a:pt x="2066" y="1211"/>
                  </a:lnTo>
                  <a:lnTo>
                    <a:pt x="2013" y="1154"/>
                  </a:lnTo>
                  <a:lnTo>
                    <a:pt x="1952" y="1105"/>
                  </a:lnTo>
                  <a:lnTo>
                    <a:pt x="1886" y="1063"/>
                  </a:lnTo>
                  <a:lnTo>
                    <a:pt x="1814" y="1031"/>
                  </a:lnTo>
                  <a:lnTo>
                    <a:pt x="1737" y="1008"/>
                  </a:lnTo>
                  <a:lnTo>
                    <a:pt x="1656" y="994"/>
                  </a:lnTo>
                  <a:lnTo>
                    <a:pt x="1572" y="993"/>
                  </a:lnTo>
                  <a:lnTo>
                    <a:pt x="1492" y="1000"/>
                  </a:lnTo>
                  <a:lnTo>
                    <a:pt x="1414" y="1019"/>
                  </a:lnTo>
                  <a:lnTo>
                    <a:pt x="1342" y="1048"/>
                  </a:lnTo>
                  <a:lnTo>
                    <a:pt x="1274" y="1086"/>
                  </a:lnTo>
                  <a:lnTo>
                    <a:pt x="1211" y="1131"/>
                  </a:lnTo>
                  <a:lnTo>
                    <a:pt x="1154" y="1185"/>
                  </a:lnTo>
                  <a:lnTo>
                    <a:pt x="1105" y="1244"/>
                  </a:lnTo>
                  <a:lnTo>
                    <a:pt x="1063" y="1310"/>
                  </a:lnTo>
                  <a:lnTo>
                    <a:pt x="1030" y="1382"/>
                  </a:lnTo>
                  <a:lnTo>
                    <a:pt x="1006" y="1460"/>
                  </a:lnTo>
                  <a:lnTo>
                    <a:pt x="992" y="1542"/>
                  </a:lnTo>
                  <a:lnTo>
                    <a:pt x="970" y="1789"/>
                  </a:lnTo>
                  <a:lnTo>
                    <a:pt x="327" y="1729"/>
                  </a:lnTo>
                  <a:lnTo>
                    <a:pt x="171" y="1715"/>
                  </a:lnTo>
                  <a:lnTo>
                    <a:pt x="122" y="1710"/>
                  </a:lnTo>
                  <a:lnTo>
                    <a:pt x="86" y="1702"/>
                  </a:lnTo>
                  <a:lnTo>
                    <a:pt x="53" y="1685"/>
                  </a:lnTo>
                  <a:lnTo>
                    <a:pt x="29" y="1660"/>
                  </a:lnTo>
                  <a:lnTo>
                    <a:pt x="10" y="1632"/>
                  </a:lnTo>
                  <a:lnTo>
                    <a:pt x="0" y="1597"/>
                  </a:lnTo>
                  <a:lnTo>
                    <a:pt x="0" y="1559"/>
                  </a:lnTo>
                  <a:lnTo>
                    <a:pt x="21" y="1339"/>
                  </a:lnTo>
                  <a:lnTo>
                    <a:pt x="31" y="1304"/>
                  </a:lnTo>
                  <a:lnTo>
                    <a:pt x="46" y="1272"/>
                  </a:lnTo>
                  <a:lnTo>
                    <a:pt x="70" y="1245"/>
                  </a:lnTo>
                  <a:lnTo>
                    <a:pt x="101" y="1226"/>
                  </a:lnTo>
                  <a:lnTo>
                    <a:pt x="135" y="1217"/>
                  </a:lnTo>
                  <a:lnTo>
                    <a:pt x="171" y="1215"/>
                  </a:lnTo>
                  <a:lnTo>
                    <a:pt x="376" y="1234"/>
                  </a:lnTo>
                  <a:lnTo>
                    <a:pt x="409" y="1139"/>
                  </a:lnTo>
                  <a:lnTo>
                    <a:pt x="449" y="1046"/>
                  </a:lnTo>
                  <a:lnTo>
                    <a:pt x="496" y="956"/>
                  </a:lnTo>
                  <a:lnTo>
                    <a:pt x="549" y="873"/>
                  </a:lnTo>
                  <a:lnTo>
                    <a:pt x="608" y="795"/>
                  </a:lnTo>
                  <a:lnTo>
                    <a:pt x="477" y="635"/>
                  </a:lnTo>
                  <a:lnTo>
                    <a:pt x="458" y="605"/>
                  </a:lnTo>
                  <a:lnTo>
                    <a:pt x="447" y="568"/>
                  </a:lnTo>
                  <a:lnTo>
                    <a:pt x="447" y="534"/>
                  </a:lnTo>
                  <a:lnTo>
                    <a:pt x="454" y="500"/>
                  </a:lnTo>
                  <a:lnTo>
                    <a:pt x="470" y="468"/>
                  </a:lnTo>
                  <a:lnTo>
                    <a:pt x="494" y="441"/>
                  </a:lnTo>
                  <a:lnTo>
                    <a:pt x="665" y="300"/>
                  </a:lnTo>
                  <a:lnTo>
                    <a:pt x="698" y="279"/>
                  </a:lnTo>
                  <a:lnTo>
                    <a:pt x="732" y="270"/>
                  </a:lnTo>
                  <a:lnTo>
                    <a:pt x="766" y="268"/>
                  </a:lnTo>
                  <a:lnTo>
                    <a:pt x="800" y="276"/>
                  </a:lnTo>
                  <a:lnTo>
                    <a:pt x="833" y="293"/>
                  </a:lnTo>
                  <a:lnTo>
                    <a:pt x="859" y="317"/>
                  </a:lnTo>
                  <a:lnTo>
                    <a:pt x="992" y="477"/>
                  </a:lnTo>
                  <a:lnTo>
                    <a:pt x="1080" y="432"/>
                  </a:lnTo>
                  <a:lnTo>
                    <a:pt x="1173" y="395"/>
                  </a:lnTo>
                  <a:lnTo>
                    <a:pt x="1268" y="365"/>
                  </a:lnTo>
                  <a:lnTo>
                    <a:pt x="1367" y="344"/>
                  </a:lnTo>
                  <a:lnTo>
                    <a:pt x="1468" y="329"/>
                  </a:lnTo>
                  <a:lnTo>
                    <a:pt x="1487" y="123"/>
                  </a:lnTo>
                  <a:lnTo>
                    <a:pt x="1496" y="87"/>
                  </a:lnTo>
                  <a:lnTo>
                    <a:pt x="1511" y="57"/>
                  </a:lnTo>
                  <a:lnTo>
                    <a:pt x="1536" y="30"/>
                  </a:lnTo>
                  <a:lnTo>
                    <a:pt x="1566" y="11"/>
                  </a:lnTo>
                  <a:lnTo>
                    <a:pt x="1601" y="2"/>
                  </a:lnTo>
                  <a:lnTo>
                    <a:pt x="16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5" name="Group 983">
            <a:extLst>
              <a:ext uri="{FF2B5EF4-FFF2-40B4-BE49-F238E27FC236}">
                <a16:creationId xmlns:a16="http://schemas.microsoft.com/office/drawing/2014/main" id="{D9075970-64E3-7EB4-22D7-E03D3A870A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95751" y="5006768"/>
            <a:ext cx="212485" cy="222621"/>
            <a:chOff x="-2695" y="580"/>
            <a:chExt cx="2138" cy="2240"/>
          </a:xfrm>
          <a:solidFill>
            <a:schemeClr val="bg1"/>
          </a:solidFill>
        </p:grpSpPr>
        <p:sp>
          <p:nvSpPr>
            <p:cNvPr id="36" name="Freeform 985">
              <a:extLst>
                <a:ext uri="{FF2B5EF4-FFF2-40B4-BE49-F238E27FC236}">
                  <a16:creationId xmlns:a16="http://schemas.microsoft.com/office/drawing/2014/main" id="{1E46FEB2-6065-3E4C-C912-AAD827345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52" y="580"/>
              <a:ext cx="1034" cy="1263"/>
            </a:xfrm>
            <a:custGeom>
              <a:avLst/>
              <a:gdLst>
                <a:gd name="T0" fmla="*/ 528 w 2068"/>
                <a:gd name="T1" fmla="*/ 773 h 2527"/>
                <a:gd name="T2" fmla="*/ 339 w 2068"/>
                <a:gd name="T3" fmla="*/ 850 h 2527"/>
                <a:gd name="T4" fmla="*/ 214 w 2068"/>
                <a:gd name="T5" fmla="*/ 961 h 2527"/>
                <a:gd name="T6" fmla="*/ 151 w 2068"/>
                <a:gd name="T7" fmla="*/ 1158 h 2527"/>
                <a:gd name="T8" fmla="*/ 172 w 2068"/>
                <a:gd name="T9" fmla="*/ 1506 h 2527"/>
                <a:gd name="T10" fmla="*/ 253 w 2068"/>
                <a:gd name="T11" fmla="*/ 1770 h 2527"/>
                <a:gd name="T12" fmla="*/ 372 w 2068"/>
                <a:gd name="T13" fmla="*/ 1972 h 2527"/>
                <a:gd name="T14" fmla="*/ 504 w 2068"/>
                <a:gd name="T15" fmla="*/ 2119 h 2527"/>
                <a:gd name="T16" fmla="*/ 727 w 2068"/>
                <a:gd name="T17" fmla="*/ 2280 h 2527"/>
                <a:gd name="T18" fmla="*/ 926 w 2068"/>
                <a:gd name="T19" fmla="*/ 2359 h 2527"/>
                <a:gd name="T20" fmla="*/ 1065 w 2068"/>
                <a:gd name="T21" fmla="*/ 2374 h 2527"/>
                <a:gd name="T22" fmla="*/ 1235 w 2068"/>
                <a:gd name="T23" fmla="*/ 2329 h 2527"/>
                <a:gd name="T24" fmla="*/ 1451 w 2068"/>
                <a:gd name="T25" fmla="*/ 2211 h 2527"/>
                <a:gd name="T26" fmla="*/ 1630 w 2068"/>
                <a:gd name="T27" fmla="*/ 2052 h 2527"/>
                <a:gd name="T28" fmla="*/ 1758 w 2068"/>
                <a:gd name="T29" fmla="*/ 1879 h 2527"/>
                <a:gd name="T30" fmla="*/ 1861 w 2068"/>
                <a:gd name="T31" fmla="*/ 1646 h 2527"/>
                <a:gd name="T32" fmla="*/ 1914 w 2068"/>
                <a:gd name="T33" fmla="*/ 1349 h 2527"/>
                <a:gd name="T34" fmla="*/ 1812 w 2068"/>
                <a:gd name="T35" fmla="*/ 1046 h 2527"/>
                <a:gd name="T36" fmla="*/ 1468 w 2068"/>
                <a:gd name="T37" fmla="*/ 1083 h 2527"/>
                <a:gd name="T38" fmla="*/ 1201 w 2068"/>
                <a:gd name="T39" fmla="*/ 1061 h 2527"/>
                <a:gd name="T40" fmla="*/ 1003 w 2068"/>
                <a:gd name="T41" fmla="*/ 1002 h 2527"/>
                <a:gd name="T42" fmla="*/ 867 w 2068"/>
                <a:gd name="T43" fmla="*/ 923 h 2527"/>
                <a:gd name="T44" fmla="*/ 780 w 2068"/>
                <a:gd name="T45" fmla="*/ 843 h 2527"/>
                <a:gd name="T46" fmla="*/ 735 w 2068"/>
                <a:gd name="T47" fmla="*/ 781 h 2527"/>
                <a:gd name="T48" fmla="*/ 722 w 2068"/>
                <a:gd name="T49" fmla="*/ 757 h 2527"/>
                <a:gd name="T50" fmla="*/ 1307 w 2068"/>
                <a:gd name="T51" fmla="*/ 19 h 2527"/>
                <a:gd name="T52" fmla="*/ 1592 w 2068"/>
                <a:gd name="T53" fmla="*/ 100 h 2527"/>
                <a:gd name="T54" fmla="*/ 1796 w 2068"/>
                <a:gd name="T55" fmla="*/ 236 h 2527"/>
                <a:gd name="T56" fmla="*/ 1932 w 2068"/>
                <a:gd name="T57" fmla="*/ 420 h 2527"/>
                <a:gd name="T58" fmla="*/ 2014 w 2068"/>
                <a:gd name="T59" fmla="*/ 646 h 2527"/>
                <a:gd name="T60" fmla="*/ 2054 w 2068"/>
                <a:gd name="T61" fmla="*/ 904 h 2527"/>
                <a:gd name="T62" fmla="*/ 2067 w 2068"/>
                <a:gd name="T63" fmla="*/ 1189 h 2527"/>
                <a:gd name="T64" fmla="*/ 2042 w 2068"/>
                <a:gd name="T65" fmla="*/ 1541 h 2527"/>
                <a:gd name="T66" fmla="*/ 1941 w 2068"/>
                <a:gd name="T67" fmla="*/ 1855 h 2527"/>
                <a:gd name="T68" fmla="*/ 1784 w 2068"/>
                <a:gd name="T69" fmla="*/ 2104 h 2527"/>
                <a:gd name="T70" fmla="*/ 1592 w 2068"/>
                <a:gd name="T71" fmla="*/ 2294 h 2527"/>
                <a:gd name="T72" fmla="*/ 1387 w 2068"/>
                <a:gd name="T73" fmla="*/ 2425 h 2527"/>
                <a:gd name="T74" fmla="*/ 1194 w 2068"/>
                <a:gd name="T75" fmla="*/ 2502 h 2527"/>
                <a:gd name="T76" fmla="*/ 1033 w 2068"/>
                <a:gd name="T77" fmla="*/ 2527 h 2527"/>
                <a:gd name="T78" fmla="*/ 873 w 2068"/>
                <a:gd name="T79" fmla="*/ 2502 h 2527"/>
                <a:gd name="T80" fmla="*/ 679 w 2068"/>
                <a:gd name="T81" fmla="*/ 2425 h 2527"/>
                <a:gd name="T82" fmla="*/ 475 w 2068"/>
                <a:gd name="T83" fmla="*/ 2294 h 2527"/>
                <a:gd name="T84" fmla="*/ 283 w 2068"/>
                <a:gd name="T85" fmla="*/ 2104 h 2527"/>
                <a:gd name="T86" fmla="*/ 125 w 2068"/>
                <a:gd name="T87" fmla="*/ 1855 h 2527"/>
                <a:gd name="T88" fmla="*/ 25 w 2068"/>
                <a:gd name="T89" fmla="*/ 1541 h 2527"/>
                <a:gd name="T90" fmla="*/ 0 w 2068"/>
                <a:gd name="T91" fmla="*/ 1189 h 2527"/>
                <a:gd name="T92" fmla="*/ 12 w 2068"/>
                <a:gd name="T93" fmla="*/ 904 h 2527"/>
                <a:gd name="T94" fmla="*/ 53 w 2068"/>
                <a:gd name="T95" fmla="*/ 646 h 2527"/>
                <a:gd name="T96" fmla="*/ 136 w 2068"/>
                <a:gd name="T97" fmla="*/ 420 h 2527"/>
                <a:gd name="T98" fmla="*/ 272 w 2068"/>
                <a:gd name="T99" fmla="*/ 236 h 2527"/>
                <a:gd name="T100" fmla="*/ 475 w 2068"/>
                <a:gd name="T101" fmla="*/ 100 h 2527"/>
                <a:gd name="T102" fmla="*/ 760 w 2068"/>
                <a:gd name="T103" fmla="*/ 19 h 2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68" h="2527">
                  <a:moveTo>
                    <a:pt x="722" y="757"/>
                  </a:moveTo>
                  <a:lnTo>
                    <a:pt x="652" y="757"/>
                  </a:lnTo>
                  <a:lnTo>
                    <a:pt x="588" y="764"/>
                  </a:lnTo>
                  <a:lnTo>
                    <a:pt x="528" y="773"/>
                  </a:lnTo>
                  <a:lnTo>
                    <a:pt x="474" y="787"/>
                  </a:lnTo>
                  <a:lnTo>
                    <a:pt x="425" y="805"/>
                  </a:lnTo>
                  <a:lnTo>
                    <a:pt x="380" y="825"/>
                  </a:lnTo>
                  <a:lnTo>
                    <a:pt x="339" y="850"/>
                  </a:lnTo>
                  <a:lnTo>
                    <a:pt x="301" y="874"/>
                  </a:lnTo>
                  <a:lnTo>
                    <a:pt x="268" y="903"/>
                  </a:lnTo>
                  <a:lnTo>
                    <a:pt x="240" y="931"/>
                  </a:lnTo>
                  <a:lnTo>
                    <a:pt x="214" y="961"/>
                  </a:lnTo>
                  <a:lnTo>
                    <a:pt x="191" y="991"/>
                  </a:lnTo>
                  <a:lnTo>
                    <a:pt x="172" y="1023"/>
                  </a:lnTo>
                  <a:lnTo>
                    <a:pt x="154" y="1053"/>
                  </a:lnTo>
                  <a:lnTo>
                    <a:pt x="151" y="1158"/>
                  </a:lnTo>
                  <a:lnTo>
                    <a:pt x="150" y="1263"/>
                  </a:lnTo>
                  <a:lnTo>
                    <a:pt x="153" y="1349"/>
                  </a:lnTo>
                  <a:lnTo>
                    <a:pt x="159" y="1429"/>
                  </a:lnTo>
                  <a:lnTo>
                    <a:pt x="172" y="1506"/>
                  </a:lnTo>
                  <a:lnTo>
                    <a:pt x="187" y="1578"/>
                  </a:lnTo>
                  <a:lnTo>
                    <a:pt x="206" y="1646"/>
                  </a:lnTo>
                  <a:lnTo>
                    <a:pt x="228" y="1710"/>
                  </a:lnTo>
                  <a:lnTo>
                    <a:pt x="253" y="1770"/>
                  </a:lnTo>
                  <a:lnTo>
                    <a:pt x="281" y="1826"/>
                  </a:lnTo>
                  <a:lnTo>
                    <a:pt x="309" y="1879"/>
                  </a:lnTo>
                  <a:lnTo>
                    <a:pt x="341" y="1927"/>
                  </a:lnTo>
                  <a:lnTo>
                    <a:pt x="372" y="1972"/>
                  </a:lnTo>
                  <a:lnTo>
                    <a:pt x="405" y="2014"/>
                  </a:lnTo>
                  <a:lnTo>
                    <a:pt x="437" y="2052"/>
                  </a:lnTo>
                  <a:lnTo>
                    <a:pt x="471" y="2088"/>
                  </a:lnTo>
                  <a:lnTo>
                    <a:pt x="504" y="2119"/>
                  </a:lnTo>
                  <a:lnTo>
                    <a:pt x="560" y="2167"/>
                  </a:lnTo>
                  <a:lnTo>
                    <a:pt x="616" y="2211"/>
                  </a:lnTo>
                  <a:lnTo>
                    <a:pt x="671" y="2247"/>
                  </a:lnTo>
                  <a:lnTo>
                    <a:pt x="727" y="2280"/>
                  </a:lnTo>
                  <a:lnTo>
                    <a:pt x="780" y="2306"/>
                  </a:lnTo>
                  <a:lnTo>
                    <a:pt x="832" y="2329"/>
                  </a:lnTo>
                  <a:lnTo>
                    <a:pt x="881" y="2347"/>
                  </a:lnTo>
                  <a:lnTo>
                    <a:pt x="926" y="2359"/>
                  </a:lnTo>
                  <a:lnTo>
                    <a:pt x="967" y="2369"/>
                  </a:lnTo>
                  <a:lnTo>
                    <a:pt x="1003" y="2374"/>
                  </a:lnTo>
                  <a:lnTo>
                    <a:pt x="1033" y="2376"/>
                  </a:lnTo>
                  <a:lnTo>
                    <a:pt x="1065" y="2374"/>
                  </a:lnTo>
                  <a:lnTo>
                    <a:pt x="1100" y="2369"/>
                  </a:lnTo>
                  <a:lnTo>
                    <a:pt x="1141" y="2359"/>
                  </a:lnTo>
                  <a:lnTo>
                    <a:pt x="1187" y="2347"/>
                  </a:lnTo>
                  <a:lnTo>
                    <a:pt x="1235" y="2329"/>
                  </a:lnTo>
                  <a:lnTo>
                    <a:pt x="1287" y="2306"/>
                  </a:lnTo>
                  <a:lnTo>
                    <a:pt x="1341" y="2280"/>
                  </a:lnTo>
                  <a:lnTo>
                    <a:pt x="1396" y="2247"/>
                  </a:lnTo>
                  <a:lnTo>
                    <a:pt x="1451" y="2211"/>
                  </a:lnTo>
                  <a:lnTo>
                    <a:pt x="1509" y="2167"/>
                  </a:lnTo>
                  <a:lnTo>
                    <a:pt x="1564" y="2119"/>
                  </a:lnTo>
                  <a:lnTo>
                    <a:pt x="1597" y="2088"/>
                  </a:lnTo>
                  <a:lnTo>
                    <a:pt x="1630" y="2052"/>
                  </a:lnTo>
                  <a:lnTo>
                    <a:pt x="1662" y="2014"/>
                  </a:lnTo>
                  <a:lnTo>
                    <a:pt x="1695" y="1972"/>
                  </a:lnTo>
                  <a:lnTo>
                    <a:pt x="1728" y="1927"/>
                  </a:lnTo>
                  <a:lnTo>
                    <a:pt x="1758" y="1879"/>
                  </a:lnTo>
                  <a:lnTo>
                    <a:pt x="1788" y="1826"/>
                  </a:lnTo>
                  <a:lnTo>
                    <a:pt x="1815" y="1770"/>
                  </a:lnTo>
                  <a:lnTo>
                    <a:pt x="1839" y="1710"/>
                  </a:lnTo>
                  <a:lnTo>
                    <a:pt x="1861" y="1646"/>
                  </a:lnTo>
                  <a:lnTo>
                    <a:pt x="1880" y="1578"/>
                  </a:lnTo>
                  <a:lnTo>
                    <a:pt x="1896" y="1506"/>
                  </a:lnTo>
                  <a:lnTo>
                    <a:pt x="1907" y="1429"/>
                  </a:lnTo>
                  <a:lnTo>
                    <a:pt x="1914" y="1349"/>
                  </a:lnTo>
                  <a:lnTo>
                    <a:pt x="1917" y="1263"/>
                  </a:lnTo>
                  <a:lnTo>
                    <a:pt x="1916" y="1144"/>
                  </a:lnTo>
                  <a:lnTo>
                    <a:pt x="1911" y="1026"/>
                  </a:lnTo>
                  <a:lnTo>
                    <a:pt x="1812" y="1046"/>
                  </a:lnTo>
                  <a:lnTo>
                    <a:pt x="1718" y="1062"/>
                  </a:lnTo>
                  <a:lnTo>
                    <a:pt x="1630" y="1073"/>
                  </a:lnTo>
                  <a:lnTo>
                    <a:pt x="1547" y="1080"/>
                  </a:lnTo>
                  <a:lnTo>
                    <a:pt x="1468" y="1083"/>
                  </a:lnTo>
                  <a:lnTo>
                    <a:pt x="1394" y="1081"/>
                  </a:lnTo>
                  <a:lnTo>
                    <a:pt x="1325" y="1079"/>
                  </a:lnTo>
                  <a:lnTo>
                    <a:pt x="1261" y="1072"/>
                  </a:lnTo>
                  <a:lnTo>
                    <a:pt x="1201" y="1061"/>
                  </a:lnTo>
                  <a:lnTo>
                    <a:pt x="1146" y="1050"/>
                  </a:lnTo>
                  <a:lnTo>
                    <a:pt x="1095" y="1035"/>
                  </a:lnTo>
                  <a:lnTo>
                    <a:pt x="1047" y="1020"/>
                  </a:lnTo>
                  <a:lnTo>
                    <a:pt x="1003" y="1002"/>
                  </a:lnTo>
                  <a:lnTo>
                    <a:pt x="964" y="983"/>
                  </a:lnTo>
                  <a:lnTo>
                    <a:pt x="929" y="964"/>
                  </a:lnTo>
                  <a:lnTo>
                    <a:pt x="896" y="944"/>
                  </a:lnTo>
                  <a:lnTo>
                    <a:pt x="867" y="923"/>
                  </a:lnTo>
                  <a:lnTo>
                    <a:pt x="840" y="903"/>
                  </a:lnTo>
                  <a:lnTo>
                    <a:pt x="817" y="882"/>
                  </a:lnTo>
                  <a:lnTo>
                    <a:pt x="798" y="862"/>
                  </a:lnTo>
                  <a:lnTo>
                    <a:pt x="780" y="843"/>
                  </a:lnTo>
                  <a:lnTo>
                    <a:pt x="765" y="825"/>
                  </a:lnTo>
                  <a:lnTo>
                    <a:pt x="753" y="809"/>
                  </a:lnTo>
                  <a:lnTo>
                    <a:pt x="742" y="794"/>
                  </a:lnTo>
                  <a:lnTo>
                    <a:pt x="735" y="781"/>
                  </a:lnTo>
                  <a:lnTo>
                    <a:pt x="728" y="771"/>
                  </a:lnTo>
                  <a:lnTo>
                    <a:pt x="724" y="764"/>
                  </a:lnTo>
                  <a:lnTo>
                    <a:pt x="723" y="758"/>
                  </a:lnTo>
                  <a:lnTo>
                    <a:pt x="722" y="757"/>
                  </a:lnTo>
                  <a:close/>
                  <a:moveTo>
                    <a:pt x="1033" y="0"/>
                  </a:moveTo>
                  <a:lnTo>
                    <a:pt x="1131" y="3"/>
                  </a:lnTo>
                  <a:lnTo>
                    <a:pt x="1223" y="8"/>
                  </a:lnTo>
                  <a:lnTo>
                    <a:pt x="1307" y="19"/>
                  </a:lnTo>
                  <a:lnTo>
                    <a:pt x="1387" y="34"/>
                  </a:lnTo>
                  <a:lnTo>
                    <a:pt x="1461" y="52"/>
                  </a:lnTo>
                  <a:lnTo>
                    <a:pt x="1529" y="74"/>
                  </a:lnTo>
                  <a:lnTo>
                    <a:pt x="1592" y="100"/>
                  </a:lnTo>
                  <a:lnTo>
                    <a:pt x="1650" y="128"/>
                  </a:lnTo>
                  <a:lnTo>
                    <a:pt x="1703" y="161"/>
                  </a:lnTo>
                  <a:lnTo>
                    <a:pt x="1751" y="196"/>
                  </a:lnTo>
                  <a:lnTo>
                    <a:pt x="1796" y="236"/>
                  </a:lnTo>
                  <a:lnTo>
                    <a:pt x="1835" y="278"/>
                  </a:lnTo>
                  <a:lnTo>
                    <a:pt x="1871" y="323"/>
                  </a:lnTo>
                  <a:lnTo>
                    <a:pt x="1903" y="370"/>
                  </a:lnTo>
                  <a:lnTo>
                    <a:pt x="1932" y="420"/>
                  </a:lnTo>
                  <a:lnTo>
                    <a:pt x="1956" y="473"/>
                  </a:lnTo>
                  <a:lnTo>
                    <a:pt x="1978" y="529"/>
                  </a:lnTo>
                  <a:lnTo>
                    <a:pt x="1997" y="586"/>
                  </a:lnTo>
                  <a:lnTo>
                    <a:pt x="2014" y="646"/>
                  </a:lnTo>
                  <a:lnTo>
                    <a:pt x="2027" y="708"/>
                  </a:lnTo>
                  <a:lnTo>
                    <a:pt x="2038" y="772"/>
                  </a:lnTo>
                  <a:lnTo>
                    <a:pt x="2048" y="837"/>
                  </a:lnTo>
                  <a:lnTo>
                    <a:pt x="2054" y="904"/>
                  </a:lnTo>
                  <a:lnTo>
                    <a:pt x="2060" y="974"/>
                  </a:lnTo>
                  <a:lnTo>
                    <a:pt x="2064" y="1045"/>
                  </a:lnTo>
                  <a:lnTo>
                    <a:pt x="2065" y="1116"/>
                  </a:lnTo>
                  <a:lnTo>
                    <a:pt x="2067" y="1189"/>
                  </a:lnTo>
                  <a:lnTo>
                    <a:pt x="2068" y="1263"/>
                  </a:lnTo>
                  <a:lnTo>
                    <a:pt x="2065" y="1361"/>
                  </a:lnTo>
                  <a:lnTo>
                    <a:pt x="2056" y="1454"/>
                  </a:lnTo>
                  <a:lnTo>
                    <a:pt x="2042" y="1541"/>
                  </a:lnTo>
                  <a:lnTo>
                    <a:pt x="2023" y="1626"/>
                  </a:lnTo>
                  <a:lnTo>
                    <a:pt x="2000" y="1706"/>
                  </a:lnTo>
                  <a:lnTo>
                    <a:pt x="1973" y="1782"/>
                  </a:lnTo>
                  <a:lnTo>
                    <a:pt x="1941" y="1855"/>
                  </a:lnTo>
                  <a:lnTo>
                    <a:pt x="1906" y="1923"/>
                  </a:lnTo>
                  <a:lnTo>
                    <a:pt x="1868" y="1987"/>
                  </a:lnTo>
                  <a:lnTo>
                    <a:pt x="1827" y="2047"/>
                  </a:lnTo>
                  <a:lnTo>
                    <a:pt x="1784" y="2104"/>
                  </a:lnTo>
                  <a:lnTo>
                    <a:pt x="1739" y="2157"/>
                  </a:lnTo>
                  <a:lnTo>
                    <a:pt x="1691" y="2206"/>
                  </a:lnTo>
                  <a:lnTo>
                    <a:pt x="1642" y="2251"/>
                  </a:lnTo>
                  <a:lnTo>
                    <a:pt x="1592" y="2294"/>
                  </a:lnTo>
                  <a:lnTo>
                    <a:pt x="1541" y="2332"/>
                  </a:lnTo>
                  <a:lnTo>
                    <a:pt x="1489" y="2366"/>
                  </a:lnTo>
                  <a:lnTo>
                    <a:pt x="1439" y="2397"/>
                  </a:lnTo>
                  <a:lnTo>
                    <a:pt x="1387" y="2425"/>
                  </a:lnTo>
                  <a:lnTo>
                    <a:pt x="1338" y="2449"/>
                  </a:lnTo>
                  <a:lnTo>
                    <a:pt x="1288" y="2470"/>
                  </a:lnTo>
                  <a:lnTo>
                    <a:pt x="1240" y="2487"/>
                  </a:lnTo>
                  <a:lnTo>
                    <a:pt x="1194" y="2502"/>
                  </a:lnTo>
                  <a:lnTo>
                    <a:pt x="1150" y="2513"/>
                  </a:lnTo>
                  <a:lnTo>
                    <a:pt x="1108" y="2520"/>
                  </a:lnTo>
                  <a:lnTo>
                    <a:pt x="1070" y="2526"/>
                  </a:lnTo>
                  <a:lnTo>
                    <a:pt x="1033" y="2527"/>
                  </a:lnTo>
                  <a:lnTo>
                    <a:pt x="998" y="2526"/>
                  </a:lnTo>
                  <a:lnTo>
                    <a:pt x="959" y="2520"/>
                  </a:lnTo>
                  <a:lnTo>
                    <a:pt x="916" y="2513"/>
                  </a:lnTo>
                  <a:lnTo>
                    <a:pt x="873" y="2502"/>
                  </a:lnTo>
                  <a:lnTo>
                    <a:pt x="827" y="2487"/>
                  </a:lnTo>
                  <a:lnTo>
                    <a:pt x="779" y="2470"/>
                  </a:lnTo>
                  <a:lnTo>
                    <a:pt x="730" y="2449"/>
                  </a:lnTo>
                  <a:lnTo>
                    <a:pt x="679" y="2425"/>
                  </a:lnTo>
                  <a:lnTo>
                    <a:pt x="628" y="2397"/>
                  </a:lnTo>
                  <a:lnTo>
                    <a:pt x="577" y="2366"/>
                  </a:lnTo>
                  <a:lnTo>
                    <a:pt x="526" y="2332"/>
                  </a:lnTo>
                  <a:lnTo>
                    <a:pt x="475" y="2294"/>
                  </a:lnTo>
                  <a:lnTo>
                    <a:pt x="425" y="2251"/>
                  </a:lnTo>
                  <a:lnTo>
                    <a:pt x="377" y="2206"/>
                  </a:lnTo>
                  <a:lnTo>
                    <a:pt x="330" y="2157"/>
                  </a:lnTo>
                  <a:lnTo>
                    <a:pt x="283" y="2104"/>
                  </a:lnTo>
                  <a:lnTo>
                    <a:pt x="240" y="2047"/>
                  </a:lnTo>
                  <a:lnTo>
                    <a:pt x="199" y="1987"/>
                  </a:lnTo>
                  <a:lnTo>
                    <a:pt x="161" y="1923"/>
                  </a:lnTo>
                  <a:lnTo>
                    <a:pt x="125" y="1855"/>
                  </a:lnTo>
                  <a:lnTo>
                    <a:pt x="94" y="1782"/>
                  </a:lnTo>
                  <a:lnTo>
                    <a:pt x="67" y="1706"/>
                  </a:lnTo>
                  <a:lnTo>
                    <a:pt x="44" y="1626"/>
                  </a:lnTo>
                  <a:lnTo>
                    <a:pt x="25" y="1541"/>
                  </a:lnTo>
                  <a:lnTo>
                    <a:pt x="11" y="1454"/>
                  </a:lnTo>
                  <a:lnTo>
                    <a:pt x="3" y="1361"/>
                  </a:lnTo>
                  <a:lnTo>
                    <a:pt x="0" y="1263"/>
                  </a:lnTo>
                  <a:lnTo>
                    <a:pt x="0" y="1189"/>
                  </a:lnTo>
                  <a:lnTo>
                    <a:pt x="2" y="1116"/>
                  </a:lnTo>
                  <a:lnTo>
                    <a:pt x="4" y="1045"/>
                  </a:lnTo>
                  <a:lnTo>
                    <a:pt x="7" y="974"/>
                  </a:lnTo>
                  <a:lnTo>
                    <a:pt x="12" y="904"/>
                  </a:lnTo>
                  <a:lnTo>
                    <a:pt x="21" y="837"/>
                  </a:lnTo>
                  <a:lnTo>
                    <a:pt x="29" y="772"/>
                  </a:lnTo>
                  <a:lnTo>
                    <a:pt x="40" y="708"/>
                  </a:lnTo>
                  <a:lnTo>
                    <a:pt x="53" y="646"/>
                  </a:lnTo>
                  <a:lnTo>
                    <a:pt x="70" y="586"/>
                  </a:lnTo>
                  <a:lnTo>
                    <a:pt x="89" y="529"/>
                  </a:lnTo>
                  <a:lnTo>
                    <a:pt x="110" y="473"/>
                  </a:lnTo>
                  <a:lnTo>
                    <a:pt x="136" y="420"/>
                  </a:lnTo>
                  <a:lnTo>
                    <a:pt x="164" y="370"/>
                  </a:lnTo>
                  <a:lnTo>
                    <a:pt x="196" y="323"/>
                  </a:lnTo>
                  <a:lnTo>
                    <a:pt x="232" y="278"/>
                  </a:lnTo>
                  <a:lnTo>
                    <a:pt x="272" y="236"/>
                  </a:lnTo>
                  <a:lnTo>
                    <a:pt x="316" y="196"/>
                  </a:lnTo>
                  <a:lnTo>
                    <a:pt x="365" y="161"/>
                  </a:lnTo>
                  <a:lnTo>
                    <a:pt x="418" y="128"/>
                  </a:lnTo>
                  <a:lnTo>
                    <a:pt x="475" y="100"/>
                  </a:lnTo>
                  <a:lnTo>
                    <a:pt x="538" y="74"/>
                  </a:lnTo>
                  <a:lnTo>
                    <a:pt x="607" y="52"/>
                  </a:lnTo>
                  <a:lnTo>
                    <a:pt x="681" y="34"/>
                  </a:lnTo>
                  <a:lnTo>
                    <a:pt x="760" y="19"/>
                  </a:lnTo>
                  <a:lnTo>
                    <a:pt x="844" y="8"/>
                  </a:lnTo>
                  <a:lnTo>
                    <a:pt x="937" y="3"/>
                  </a:lnTo>
                  <a:lnTo>
                    <a:pt x="10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986">
              <a:extLst>
                <a:ext uri="{FF2B5EF4-FFF2-40B4-BE49-F238E27FC236}">
                  <a16:creationId xmlns:a16="http://schemas.microsoft.com/office/drawing/2014/main" id="{335E6EA8-7FD9-D5F9-26A4-67734BD5C5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32" y="1143"/>
              <a:ext cx="794" cy="269"/>
            </a:xfrm>
            <a:custGeom>
              <a:avLst/>
              <a:gdLst>
                <a:gd name="T0" fmla="*/ 1078 w 1587"/>
                <a:gd name="T1" fmla="*/ 96 h 538"/>
                <a:gd name="T2" fmla="*/ 955 w 1587"/>
                <a:gd name="T3" fmla="*/ 129 h 538"/>
                <a:gd name="T4" fmla="*/ 930 w 1587"/>
                <a:gd name="T5" fmla="*/ 150 h 538"/>
                <a:gd name="T6" fmla="*/ 925 w 1587"/>
                <a:gd name="T7" fmla="*/ 206 h 538"/>
                <a:gd name="T8" fmla="*/ 983 w 1587"/>
                <a:gd name="T9" fmla="*/ 363 h 538"/>
                <a:gd name="T10" fmla="*/ 1130 w 1587"/>
                <a:gd name="T11" fmla="*/ 455 h 538"/>
                <a:gd name="T12" fmla="*/ 1342 w 1587"/>
                <a:gd name="T13" fmla="*/ 445 h 538"/>
                <a:gd name="T14" fmla="*/ 1447 w 1587"/>
                <a:gd name="T15" fmla="*/ 351 h 538"/>
                <a:gd name="T16" fmla="*/ 1467 w 1587"/>
                <a:gd name="T17" fmla="*/ 227 h 538"/>
                <a:gd name="T18" fmla="*/ 1436 w 1587"/>
                <a:gd name="T19" fmla="*/ 126 h 538"/>
                <a:gd name="T20" fmla="*/ 1342 w 1587"/>
                <a:gd name="T21" fmla="*/ 88 h 538"/>
                <a:gd name="T22" fmla="*/ 245 w 1587"/>
                <a:gd name="T23" fmla="*/ 88 h 538"/>
                <a:gd name="T24" fmla="*/ 151 w 1587"/>
                <a:gd name="T25" fmla="*/ 126 h 538"/>
                <a:gd name="T26" fmla="*/ 120 w 1587"/>
                <a:gd name="T27" fmla="*/ 227 h 538"/>
                <a:gd name="T28" fmla="*/ 140 w 1587"/>
                <a:gd name="T29" fmla="*/ 351 h 538"/>
                <a:gd name="T30" fmla="*/ 245 w 1587"/>
                <a:gd name="T31" fmla="*/ 445 h 538"/>
                <a:gd name="T32" fmla="*/ 457 w 1587"/>
                <a:gd name="T33" fmla="*/ 455 h 538"/>
                <a:gd name="T34" fmla="*/ 606 w 1587"/>
                <a:gd name="T35" fmla="*/ 363 h 538"/>
                <a:gd name="T36" fmla="*/ 661 w 1587"/>
                <a:gd name="T37" fmla="*/ 208 h 538"/>
                <a:gd name="T38" fmla="*/ 659 w 1587"/>
                <a:gd name="T39" fmla="*/ 152 h 538"/>
                <a:gd name="T40" fmla="*/ 623 w 1587"/>
                <a:gd name="T41" fmla="*/ 125 h 538"/>
                <a:gd name="T42" fmla="*/ 469 w 1587"/>
                <a:gd name="T43" fmla="*/ 92 h 538"/>
                <a:gd name="T44" fmla="*/ 390 w 1587"/>
                <a:gd name="T45" fmla="*/ 2 h 538"/>
                <a:gd name="T46" fmla="*/ 587 w 1587"/>
                <a:gd name="T47" fmla="*/ 20 h 538"/>
                <a:gd name="T48" fmla="*/ 712 w 1587"/>
                <a:gd name="T49" fmla="*/ 69 h 538"/>
                <a:gd name="T50" fmla="*/ 804 w 1587"/>
                <a:gd name="T51" fmla="*/ 89 h 538"/>
                <a:gd name="T52" fmla="*/ 893 w 1587"/>
                <a:gd name="T53" fmla="*/ 60 h 538"/>
                <a:gd name="T54" fmla="*/ 1037 w 1587"/>
                <a:gd name="T55" fmla="*/ 13 h 538"/>
                <a:gd name="T56" fmla="*/ 1260 w 1587"/>
                <a:gd name="T57" fmla="*/ 0 h 538"/>
                <a:gd name="T58" fmla="*/ 1533 w 1587"/>
                <a:gd name="T59" fmla="*/ 28 h 538"/>
                <a:gd name="T60" fmla="*/ 1584 w 1587"/>
                <a:gd name="T61" fmla="*/ 75 h 538"/>
                <a:gd name="T62" fmla="*/ 1587 w 1587"/>
                <a:gd name="T63" fmla="*/ 141 h 538"/>
                <a:gd name="T64" fmla="*/ 1578 w 1587"/>
                <a:gd name="T65" fmla="*/ 193 h 538"/>
                <a:gd name="T66" fmla="*/ 1560 w 1587"/>
                <a:gd name="T67" fmla="*/ 217 h 538"/>
                <a:gd name="T68" fmla="*/ 1534 w 1587"/>
                <a:gd name="T69" fmla="*/ 355 h 538"/>
                <a:gd name="T70" fmla="*/ 1485 w 1587"/>
                <a:gd name="T71" fmla="*/ 464 h 538"/>
                <a:gd name="T72" fmla="*/ 1376 w 1587"/>
                <a:gd name="T73" fmla="*/ 520 h 538"/>
                <a:gd name="T74" fmla="*/ 1191 w 1587"/>
                <a:gd name="T75" fmla="*/ 536 h 538"/>
                <a:gd name="T76" fmla="*/ 992 w 1587"/>
                <a:gd name="T77" fmla="*/ 489 h 538"/>
                <a:gd name="T78" fmla="*/ 885 w 1587"/>
                <a:gd name="T79" fmla="*/ 365 h 538"/>
                <a:gd name="T80" fmla="*/ 838 w 1587"/>
                <a:gd name="T81" fmla="*/ 238 h 538"/>
                <a:gd name="T82" fmla="*/ 814 w 1587"/>
                <a:gd name="T83" fmla="*/ 204 h 538"/>
                <a:gd name="T84" fmla="*/ 759 w 1587"/>
                <a:gd name="T85" fmla="*/ 209 h 538"/>
                <a:gd name="T86" fmla="*/ 749 w 1587"/>
                <a:gd name="T87" fmla="*/ 235 h 538"/>
                <a:gd name="T88" fmla="*/ 704 w 1587"/>
                <a:gd name="T89" fmla="*/ 363 h 538"/>
                <a:gd name="T90" fmla="*/ 595 w 1587"/>
                <a:gd name="T91" fmla="*/ 489 h 538"/>
                <a:gd name="T92" fmla="*/ 396 w 1587"/>
                <a:gd name="T93" fmla="*/ 536 h 538"/>
                <a:gd name="T94" fmla="*/ 211 w 1587"/>
                <a:gd name="T95" fmla="*/ 520 h 538"/>
                <a:gd name="T96" fmla="*/ 102 w 1587"/>
                <a:gd name="T97" fmla="*/ 464 h 538"/>
                <a:gd name="T98" fmla="*/ 54 w 1587"/>
                <a:gd name="T99" fmla="*/ 355 h 538"/>
                <a:gd name="T100" fmla="*/ 27 w 1587"/>
                <a:gd name="T101" fmla="*/ 217 h 538"/>
                <a:gd name="T102" fmla="*/ 9 w 1587"/>
                <a:gd name="T103" fmla="*/ 193 h 538"/>
                <a:gd name="T104" fmla="*/ 0 w 1587"/>
                <a:gd name="T105" fmla="*/ 142 h 538"/>
                <a:gd name="T106" fmla="*/ 0 w 1587"/>
                <a:gd name="T107" fmla="*/ 95 h 538"/>
                <a:gd name="T108" fmla="*/ 43 w 1587"/>
                <a:gd name="T109" fmla="*/ 32 h 538"/>
                <a:gd name="T110" fmla="*/ 257 w 1587"/>
                <a:gd name="T111" fmla="*/ 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87" h="538">
                  <a:moveTo>
                    <a:pt x="1267" y="84"/>
                  </a:moveTo>
                  <a:lnTo>
                    <a:pt x="1222" y="85"/>
                  </a:lnTo>
                  <a:lnTo>
                    <a:pt x="1171" y="88"/>
                  </a:lnTo>
                  <a:lnTo>
                    <a:pt x="1122" y="90"/>
                  </a:lnTo>
                  <a:lnTo>
                    <a:pt x="1078" y="96"/>
                  </a:lnTo>
                  <a:lnTo>
                    <a:pt x="1043" y="101"/>
                  </a:lnTo>
                  <a:lnTo>
                    <a:pt x="1013" y="108"/>
                  </a:lnTo>
                  <a:lnTo>
                    <a:pt x="989" y="115"/>
                  </a:lnTo>
                  <a:lnTo>
                    <a:pt x="970" y="122"/>
                  </a:lnTo>
                  <a:lnTo>
                    <a:pt x="955" y="129"/>
                  </a:lnTo>
                  <a:lnTo>
                    <a:pt x="945" y="134"/>
                  </a:lnTo>
                  <a:lnTo>
                    <a:pt x="938" y="140"/>
                  </a:lnTo>
                  <a:lnTo>
                    <a:pt x="932" y="145"/>
                  </a:lnTo>
                  <a:lnTo>
                    <a:pt x="930" y="148"/>
                  </a:lnTo>
                  <a:lnTo>
                    <a:pt x="930" y="150"/>
                  </a:lnTo>
                  <a:lnTo>
                    <a:pt x="928" y="153"/>
                  </a:lnTo>
                  <a:lnTo>
                    <a:pt x="927" y="160"/>
                  </a:lnTo>
                  <a:lnTo>
                    <a:pt x="925" y="171"/>
                  </a:lnTo>
                  <a:lnTo>
                    <a:pt x="924" y="187"/>
                  </a:lnTo>
                  <a:lnTo>
                    <a:pt x="925" y="206"/>
                  </a:lnTo>
                  <a:lnTo>
                    <a:pt x="928" y="231"/>
                  </a:lnTo>
                  <a:lnTo>
                    <a:pt x="935" y="258"/>
                  </a:lnTo>
                  <a:lnTo>
                    <a:pt x="946" y="290"/>
                  </a:lnTo>
                  <a:lnTo>
                    <a:pt x="961" y="325"/>
                  </a:lnTo>
                  <a:lnTo>
                    <a:pt x="983" y="363"/>
                  </a:lnTo>
                  <a:lnTo>
                    <a:pt x="1000" y="389"/>
                  </a:lnTo>
                  <a:lnTo>
                    <a:pt x="1026" y="411"/>
                  </a:lnTo>
                  <a:lnTo>
                    <a:pt x="1056" y="429"/>
                  </a:lnTo>
                  <a:lnTo>
                    <a:pt x="1090" y="444"/>
                  </a:lnTo>
                  <a:lnTo>
                    <a:pt x="1130" y="455"/>
                  </a:lnTo>
                  <a:lnTo>
                    <a:pt x="1173" y="460"/>
                  </a:lnTo>
                  <a:lnTo>
                    <a:pt x="1220" y="463"/>
                  </a:lnTo>
                  <a:lnTo>
                    <a:pt x="1263" y="461"/>
                  </a:lnTo>
                  <a:lnTo>
                    <a:pt x="1305" y="455"/>
                  </a:lnTo>
                  <a:lnTo>
                    <a:pt x="1342" y="445"/>
                  </a:lnTo>
                  <a:lnTo>
                    <a:pt x="1375" y="433"/>
                  </a:lnTo>
                  <a:lnTo>
                    <a:pt x="1399" y="418"/>
                  </a:lnTo>
                  <a:lnTo>
                    <a:pt x="1420" y="399"/>
                  </a:lnTo>
                  <a:lnTo>
                    <a:pt x="1435" y="375"/>
                  </a:lnTo>
                  <a:lnTo>
                    <a:pt x="1447" y="351"/>
                  </a:lnTo>
                  <a:lnTo>
                    <a:pt x="1455" y="325"/>
                  </a:lnTo>
                  <a:lnTo>
                    <a:pt x="1462" y="298"/>
                  </a:lnTo>
                  <a:lnTo>
                    <a:pt x="1465" y="272"/>
                  </a:lnTo>
                  <a:lnTo>
                    <a:pt x="1467" y="249"/>
                  </a:lnTo>
                  <a:lnTo>
                    <a:pt x="1467" y="227"/>
                  </a:lnTo>
                  <a:lnTo>
                    <a:pt x="1466" y="204"/>
                  </a:lnTo>
                  <a:lnTo>
                    <a:pt x="1462" y="179"/>
                  </a:lnTo>
                  <a:lnTo>
                    <a:pt x="1454" y="156"/>
                  </a:lnTo>
                  <a:lnTo>
                    <a:pt x="1445" y="137"/>
                  </a:lnTo>
                  <a:lnTo>
                    <a:pt x="1436" y="126"/>
                  </a:lnTo>
                  <a:lnTo>
                    <a:pt x="1425" y="115"/>
                  </a:lnTo>
                  <a:lnTo>
                    <a:pt x="1411" y="105"/>
                  </a:lnTo>
                  <a:lnTo>
                    <a:pt x="1392" y="99"/>
                  </a:lnTo>
                  <a:lnTo>
                    <a:pt x="1371" y="92"/>
                  </a:lnTo>
                  <a:lnTo>
                    <a:pt x="1342" y="88"/>
                  </a:lnTo>
                  <a:lnTo>
                    <a:pt x="1308" y="85"/>
                  </a:lnTo>
                  <a:lnTo>
                    <a:pt x="1267" y="84"/>
                  </a:lnTo>
                  <a:close/>
                  <a:moveTo>
                    <a:pt x="320" y="84"/>
                  </a:moveTo>
                  <a:lnTo>
                    <a:pt x="279" y="85"/>
                  </a:lnTo>
                  <a:lnTo>
                    <a:pt x="245" y="88"/>
                  </a:lnTo>
                  <a:lnTo>
                    <a:pt x="216" y="92"/>
                  </a:lnTo>
                  <a:lnTo>
                    <a:pt x="194" y="99"/>
                  </a:lnTo>
                  <a:lnTo>
                    <a:pt x="175" y="105"/>
                  </a:lnTo>
                  <a:lnTo>
                    <a:pt x="162" y="115"/>
                  </a:lnTo>
                  <a:lnTo>
                    <a:pt x="151" y="126"/>
                  </a:lnTo>
                  <a:lnTo>
                    <a:pt x="141" y="137"/>
                  </a:lnTo>
                  <a:lnTo>
                    <a:pt x="133" y="156"/>
                  </a:lnTo>
                  <a:lnTo>
                    <a:pt x="126" y="179"/>
                  </a:lnTo>
                  <a:lnTo>
                    <a:pt x="121" y="204"/>
                  </a:lnTo>
                  <a:lnTo>
                    <a:pt x="120" y="227"/>
                  </a:lnTo>
                  <a:lnTo>
                    <a:pt x="120" y="249"/>
                  </a:lnTo>
                  <a:lnTo>
                    <a:pt x="122" y="273"/>
                  </a:lnTo>
                  <a:lnTo>
                    <a:pt x="125" y="298"/>
                  </a:lnTo>
                  <a:lnTo>
                    <a:pt x="132" y="325"/>
                  </a:lnTo>
                  <a:lnTo>
                    <a:pt x="140" y="351"/>
                  </a:lnTo>
                  <a:lnTo>
                    <a:pt x="152" y="375"/>
                  </a:lnTo>
                  <a:lnTo>
                    <a:pt x="169" y="399"/>
                  </a:lnTo>
                  <a:lnTo>
                    <a:pt x="188" y="418"/>
                  </a:lnTo>
                  <a:lnTo>
                    <a:pt x="212" y="433"/>
                  </a:lnTo>
                  <a:lnTo>
                    <a:pt x="245" y="445"/>
                  </a:lnTo>
                  <a:lnTo>
                    <a:pt x="283" y="455"/>
                  </a:lnTo>
                  <a:lnTo>
                    <a:pt x="324" y="461"/>
                  </a:lnTo>
                  <a:lnTo>
                    <a:pt x="367" y="463"/>
                  </a:lnTo>
                  <a:lnTo>
                    <a:pt x="414" y="460"/>
                  </a:lnTo>
                  <a:lnTo>
                    <a:pt x="457" y="455"/>
                  </a:lnTo>
                  <a:lnTo>
                    <a:pt x="497" y="444"/>
                  </a:lnTo>
                  <a:lnTo>
                    <a:pt x="531" y="429"/>
                  </a:lnTo>
                  <a:lnTo>
                    <a:pt x="562" y="411"/>
                  </a:lnTo>
                  <a:lnTo>
                    <a:pt x="587" y="389"/>
                  </a:lnTo>
                  <a:lnTo>
                    <a:pt x="606" y="363"/>
                  </a:lnTo>
                  <a:lnTo>
                    <a:pt x="626" y="325"/>
                  </a:lnTo>
                  <a:lnTo>
                    <a:pt x="641" y="291"/>
                  </a:lnTo>
                  <a:lnTo>
                    <a:pt x="652" y="260"/>
                  </a:lnTo>
                  <a:lnTo>
                    <a:pt x="659" y="232"/>
                  </a:lnTo>
                  <a:lnTo>
                    <a:pt x="661" y="208"/>
                  </a:lnTo>
                  <a:lnTo>
                    <a:pt x="663" y="189"/>
                  </a:lnTo>
                  <a:lnTo>
                    <a:pt x="661" y="172"/>
                  </a:lnTo>
                  <a:lnTo>
                    <a:pt x="660" y="161"/>
                  </a:lnTo>
                  <a:lnTo>
                    <a:pt x="659" y="155"/>
                  </a:lnTo>
                  <a:lnTo>
                    <a:pt x="659" y="152"/>
                  </a:lnTo>
                  <a:lnTo>
                    <a:pt x="657" y="148"/>
                  </a:lnTo>
                  <a:lnTo>
                    <a:pt x="653" y="144"/>
                  </a:lnTo>
                  <a:lnTo>
                    <a:pt x="648" y="138"/>
                  </a:lnTo>
                  <a:lnTo>
                    <a:pt x="637" y="131"/>
                  </a:lnTo>
                  <a:lnTo>
                    <a:pt x="623" y="125"/>
                  </a:lnTo>
                  <a:lnTo>
                    <a:pt x="606" y="118"/>
                  </a:lnTo>
                  <a:lnTo>
                    <a:pt x="581" y="110"/>
                  </a:lnTo>
                  <a:lnTo>
                    <a:pt x="551" y="103"/>
                  </a:lnTo>
                  <a:lnTo>
                    <a:pt x="514" y="97"/>
                  </a:lnTo>
                  <a:lnTo>
                    <a:pt x="469" y="92"/>
                  </a:lnTo>
                  <a:lnTo>
                    <a:pt x="416" y="88"/>
                  </a:lnTo>
                  <a:lnTo>
                    <a:pt x="365" y="85"/>
                  </a:lnTo>
                  <a:lnTo>
                    <a:pt x="320" y="84"/>
                  </a:lnTo>
                  <a:close/>
                  <a:moveTo>
                    <a:pt x="327" y="0"/>
                  </a:moveTo>
                  <a:lnTo>
                    <a:pt x="390" y="2"/>
                  </a:lnTo>
                  <a:lnTo>
                    <a:pt x="454" y="5"/>
                  </a:lnTo>
                  <a:lnTo>
                    <a:pt x="461" y="6"/>
                  </a:lnTo>
                  <a:lnTo>
                    <a:pt x="509" y="9"/>
                  </a:lnTo>
                  <a:lnTo>
                    <a:pt x="551" y="13"/>
                  </a:lnTo>
                  <a:lnTo>
                    <a:pt x="587" y="20"/>
                  </a:lnTo>
                  <a:lnTo>
                    <a:pt x="622" y="28"/>
                  </a:lnTo>
                  <a:lnTo>
                    <a:pt x="656" y="41"/>
                  </a:lnTo>
                  <a:lnTo>
                    <a:pt x="675" y="50"/>
                  </a:lnTo>
                  <a:lnTo>
                    <a:pt x="695" y="60"/>
                  </a:lnTo>
                  <a:lnTo>
                    <a:pt x="712" y="69"/>
                  </a:lnTo>
                  <a:lnTo>
                    <a:pt x="729" y="75"/>
                  </a:lnTo>
                  <a:lnTo>
                    <a:pt x="746" y="82"/>
                  </a:lnTo>
                  <a:lnTo>
                    <a:pt x="761" y="86"/>
                  </a:lnTo>
                  <a:lnTo>
                    <a:pt x="784" y="89"/>
                  </a:lnTo>
                  <a:lnTo>
                    <a:pt x="804" y="89"/>
                  </a:lnTo>
                  <a:lnTo>
                    <a:pt x="827" y="86"/>
                  </a:lnTo>
                  <a:lnTo>
                    <a:pt x="841" y="82"/>
                  </a:lnTo>
                  <a:lnTo>
                    <a:pt x="857" y="75"/>
                  </a:lnTo>
                  <a:lnTo>
                    <a:pt x="876" y="69"/>
                  </a:lnTo>
                  <a:lnTo>
                    <a:pt x="893" y="60"/>
                  </a:lnTo>
                  <a:lnTo>
                    <a:pt x="913" y="50"/>
                  </a:lnTo>
                  <a:lnTo>
                    <a:pt x="931" y="41"/>
                  </a:lnTo>
                  <a:lnTo>
                    <a:pt x="966" y="28"/>
                  </a:lnTo>
                  <a:lnTo>
                    <a:pt x="1000" y="20"/>
                  </a:lnTo>
                  <a:lnTo>
                    <a:pt x="1037" y="13"/>
                  </a:lnTo>
                  <a:lnTo>
                    <a:pt x="1078" y="9"/>
                  </a:lnTo>
                  <a:lnTo>
                    <a:pt x="1126" y="6"/>
                  </a:lnTo>
                  <a:lnTo>
                    <a:pt x="1134" y="5"/>
                  </a:lnTo>
                  <a:lnTo>
                    <a:pt x="1198" y="2"/>
                  </a:lnTo>
                  <a:lnTo>
                    <a:pt x="1260" y="0"/>
                  </a:lnTo>
                  <a:lnTo>
                    <a:pt x="1331" y="2"/>
                  </a:lnTo>
                  <a:lnTo>
                    <a:pt x="1398" y="6"/>
                  </a:lnTo>
                  <a:lnTo>
                    <a:pt x="1462" y="14"/>
                  </a:lnTo>
                  <a:lnTo>
                    <a:pt x="1523" y="25"/>
                  </a:lnTo>
                  <a:lnTo>
                    <a:pt x="1533" y="28"/>
                  </a:lnTo>
                  <a:lnTo>
                    <a:pt x="1545" y="32"/>
                  </a:lnTo>
                  <a:lnTo>
                    <a:pt x="1556" y="39"/>
                  </a:lnTo>
                  <a:lnTo>
                    <a:pt x="1568" y="48"/>
                  </a:lnTo>
                  <a:lnTo>
                    <a:pt x="1578" y="60"/>
                  </a:lnTo>
                  <a:lnTo>
                    <a:pt x="1584" y="75"/>
                  </a:lnTo>
                  <a:lnTo>
                    <a:pt x="1587" y="95"/>
                  </a:lnTo>
                  <a:lnTo>
                    <a:pt x="1587" y="111"/>
                  </a:lnTo>
                  <a:lnTo>
                    <a:pt x="1587" y="131"/>
                  </a:lnTo>
                  <a:lnTo>
                    <a:pt x="1587" y="133"/>
                  </a:lnTo>
                  <a:lnTo>
                    <a:pt x="1587" y="141"/>
                  </a:lnTo>
                  <a:lnTo>
                    <a:pt x="1587" y="146"/>
                  </a:lnTo>
                  <a:lnTo>
                    <a:pt x="1587" y="152"/>
                  </a:lnTo>
                  <a:lnTo>
                    <a:pt x="1586" y="168"/>
                  </a:lnTo>
                  <a:lnTo>
                    <a:pt x="1583" y="182"/>
                  </a:lnTo>
                  <a:lnTo>
                    <a:pt x="1578" y="193"/>
                  </a:lnTo>
                  <a:lnTo>
                    <a:pt x="1572" y="200"/>
                  </a:lnTo>
                  <a:lnTo>
                    <a:pt x="1567" y="206"/>
                  </a:lnTo>
                  <a:lnTo>
                    <a:pt x="1564" y="209"/>
                  </a:lnTo>
                  <a:lnTo>
                    <a:pt x="1563" y="212"/>
                  </a:lnTo>
                  <a:lnTo>
                    <a:pt x="1560" y="217"/>
                  </a:lnTo>
                  <a:lnTo>
                    <a:pt x="1557" y="223"/>
                  </a:lnTo>
                  <a:lnTo>
                    <a:pt x="1556" y="230"/>
                  </a:lnTo>
                  <a:lnTo>
                    <a:pt x="1548" y="279"/>
                  </a:lnTo>
                  <a:lnTo>
                    <a:pt x="1541" y="320"/>
                  </a:lnTo>
                  <a:lnTo>
                    <a:pt x="1534" y="355"/>
                  </a:lnTo>
                  <a:lnTo>
                    <a:pt x="1526" y="385"/>
                  </a:lnTo>
                  <a:lnTo>
                    <a:pt x="1518" y="410"/>
                  </a:lnTo>
                  <a:lnTo>
                    <a:pt x="1509" y="431"/>
                  </a:lnTo>
                  <a:lnTo>
                    <a:pt x="1499" y="449"/>
                  </a:lnTo>
                  <a:lnTo>
                    <a:pt x="1485" y="464"/>
                  </a:lnTo>
                  <a:lnTo>
                    <a:pt x="1470" y="478"/>
                  </a:lnTo>
                  <a:lnTo>
                    <a:pt x="1451" y="490"/>
                  </a:lnTo>
                  <a:lnTo>
                    <a:pt x="1429" y="502"/>
                  </a:lnTo>
                  <a:lnTo>
                    <a:pt x="1406" y="512"/>
                  </a:lnTo>
                  <a:lnTo>
                    <a:pt x="1376" y="520"/>
                  </a:lnTo>
                  <a:lnTo>
                    <a:pt x="1343" y="528"/>
                  </a:lnTo>
                  <a:lnTo>
                    <a:pt x="1305" y="534"/>
                  </a:lnTo>
                  <a:lnTo>
                    <a:pt x="1266" y="536"/>
                  </a:lnTo>
                  <a:lnTo>
                    <a:pt x="1225" y="538"/>
                  </a:lnTo>
                  <a:lnTo>
                    <a:pt x="1191" y="536"/>
                  </a:lnTo>
                  <a:lnTo>
                    <a:pt x="1154" y="534"/>
                  </a:lnTo>
                  <a:lnTo>
                    <a:pt x="1113" y="528"/>
                  </a:lnTo>
                  <a:lnTo>
                    <a:pt x="1072" y="520"/>
                  </a:lnTo>
                  <a:lnTo>
                    <a:pt x="1032" y="506"/>
                  </a:lnTo>
                  <a:lnTo>
                    <a:pt x="992" y="489"/>
                  </a:lnTo>
                  <a:lnTo>
                    <a:pt x="965" y="471"/>
                  </a:lnTo>
                  <a:lnTo>
                    <a:pt x="942" y="449"/>
                  </a:lnTo>
                  <a:lnTo>
                    <a:pt x="920" y="423"/>
                  </a:lnTo>
                  <a:lnTo>
                    <a:pt x="901" y="395"/>
                  </a:lnTo>
                  <a:lnTo>
                    <a:pt x="885" y="365"/>
                  </a:lnTo>
                  <a:lnTo>
                    <a:pt x="871" y="335"/>
                  </a:lnTo>
                  <a:lnTo>
                    <a:pt x="860" y="306"/>
                  </a:lnTo>
                  <a:lnTo>
                    <a:pt x="851" y="279"/>
                  </a:lnTo>
                  <a:lnTo>
                    <a:pt x="844" y="255"/>
                  </a:lnTo>
                  <a:lnTo>
                    <a:pt x="838" y="238"/>
                  </a:lnTo>
                  <a:lnTo>
                    <a:pt x="836" y="224"/>
                  </a:lnTo>
                  <a:lnTo>
                    <a:pt x="834" y="219"/>
                  </a:lnTo>
                  <a:lnTo>
                    <a:pt x="833" y="213"/>
                  </a:lnTo>
                  <a:lnTo>
                    <a:pt x="826" y="208"/>
                  </a:lnTo>
                  <a:lnTo>
                    <a:pt x="814" y="204"/>
                  </a:lnTo>
                  <a:lnTo>
                    <a:pt x="796" y="202"/>
                  </a:lnTo>
                  <a:lnTo>
                    <a:pt x="793" y="202"/>
                  </a:lnTo>
                  <a:lnTo>
                    <a:pt x="777" y="204"/>
                  </a:lnTo>
                  <a:lnTo>
                    <a:pt x="766" y="206"/>
                  </a:lnTo>
                  <a:lnTo>
                    <a:pt x="759" y="209"/>
                  </a:lnTo>
                  <a:lnTo>
                    <a:pt x="755" y="213"/>
                  </a:lnTo>
                  <a:lnTo>
                    <a:pt x="754" y="215"/>
                  </a:lnTo>
                  <a:lnTo>
                    <a:pt x="753" y="216"/>
                  </a:lnTo>
                  <a:lnTo>
                    <a:pt x="751" y="223"/>
                  </a:lnTo>
                  <a:lnTo>
                    <a:pt x="749" y="235"/>
                  </a:lnTo>
                  <a:lnTo>
                    <a:pt x="744" y="254"/>
                  </a:lnTo>
                  <a:lnTo>
                    <a:pt x="738" y="277"/>
                  </a:lnTo>
                  <a:lnTo>
                    <a:pt x="728" y="305"/>
                  </a:lnTo>
                  <a:lnTo>
                    <a:pt x="717" y="333"/>
                  </a:lnTo>
                  <a:lnTo>
                    <a:pt x="704" y="363"/>
                  </a:lnTo>
                  <a:lnTo>
                    <a:pt x="687" y="393"/>
                  </a:lnTo>
                  <a:lnTo>
                    <a:pt x="668" y="422"/>
                  </a:lnTo>
                  <a:lnTo>
                    <a:pt x="646" y="448"/>
                  </a:lnTo>
                  <a:lnTo>
                    <a:pt x="622" y="471"/>
                  </a:lnTo>
                  <a:lnTo>
                    <a:pt x="595" y="489"/>
                  </a:lnTo>
                  <a:lnTo>
                    <a:pt x="555" y="506"/>
                  </a:lnTo>
                  <a:lnTo>
                    <a:pt x="514" y="520"/>
                  </a:lnTo>
                  <a:lnTo>
                    <a:pt x="474" y="528"/>
                  </a:lnTo>
                  <a:lnTo>
                    <a:pt x="434" y="534"/>
                  </a:lnTo>
                  <a:lnTo>
                    <a:pt x="396" y="536"/>
                  </a:lnTo>
                  <a:lnTo>
                    <a:pt x="362" y="538"/>
                  </a:lnTo>
                  <a:lnTo>
                    <a:pt x="321" y="536"/>
                  </a:lnTo>
                  <a:lnTo>
                    <a:pt x="282" y="534"/>
                  </a:lnTo>
                  <a:lnTo>
                    <a:pt x="245" y="528"/>
                  </a:lnTo>
                  <a:lnTo>
                    <a:pt x="211" y="520"/>
                  </a:lnTo>
                  <a:lnTo>
                    <a:pt x="181" y="512"/>
                  </a:lnTo>
                  <a:lnTo>
                    <a:pt x="158" y="502"/>
                  </a:lnTo>
                  <a:lnTo>
                    <a:pt x="136" y="490"/>
                  </a:lnTo>
                  <a:lnTo>
                    <a:pt x="117" y="478"/>
                  </a:lnTo>
                  <a:lnTo>
                    <a:pt x="102" y="464"/>
                  </a:lnTo>
                  <a:lnTo>
                    <a:pt x="90" y="449"/>
                  </a:lnTo>
                  <a:lnTo>
                    <a:pt x="79" y="431"/>
                  </a:lnTo>
                  <a:lnTo>
                    <a:pt x="69" y="410"/>
                  </a:lnTo>
                  <a:lnTo>
                    <a:pt x="61" y="385"/>
                  </a:lnTo>
                  <a:lnTo>
                    <a:pt x="54" y="355"/>
                  </a:lnTo>
                  <a:lnTo>
                    <a:pt x="46" y="321"/>
                  </a:lnTo>
                  <a:lnTo>
                    <a:pt x="39" y="279"/>
                  </a:lnTo>
                  <a:lnTo>
                    <a:pt x="31" y="230"/>
                  </a:lnTo>
                  <a:lnTo>
                    <a:pt x="30" y="223"/>
                  </a:lnTo>
                  <a:lnTo>
                    <a:pt x="27" y="217"/>
                  </a:lnTo>
                  <a:lnTo>
                    <a:pt x="26" y="212"/>
                  </a:lnTo>
                  <a:lnTo>
                    <a:pt x="23" y="209"/>
                  </a:lnTo>
                  <a:lnTo>
                    <a:pt x="20" y="206"/>
                  </a:lnTo>
                  <a:lnTo>
                    <a:pt x="15" y="200"/>
                  </a:lnTo>
                  <a:lnTo>
                    <a:pt x="9" y="193"/>
                  </a:lnTo>
                  <a:lnTo>
                    <a:pt x="5" y="182"/>
                  </a:lnTo>
                  <a:lnTo>
                    <a:pt x="1" y="168"/>
                  </a:lnTo>
                  <a:lnTo>
                    <a:pt x="0" y="152"/>
                  </a:lnTo>
                  <a:lnTo>
                    <a:pt x="0" y="148"/>
                  </a:lnTo>
                  <a:lnTo>
                    <a:pt x="0" y="142"/>
                  </a:lnTo>
                  <a:lnTo>
                    <a:pt x="0" y="137"/>
                  </a:lnTo>
                  <a:lnTo>
                    <a:pt x="0" y="131"/>
                  </a:lnTo>
                  <a:lnTo>
                    <a:pt x="0" y="118"/>
                  </a:lnTo>
                  <a:lnTo>
                    <a:pt x="0" y="105"/>
                  </a:lnTo>
                  <a:lnTo>
                    <a:pt x="0" y="95"/>
                  </a:lnTo>
                  <a:lnTo>
                    <a:pt x="4" y="75"/>
                  </a:lnTo>
                  <a:lnTo>
                    <a:pt x="11" y="60"/>
                  </a:lnTo>
                  <a:lnTo>
                    <a:pt x="20" y="48"/>
                  </a:lnTo>
                  <a:lnTo>
                    <a:pt x="31" y="39"/>
                  </a:lnTo>
                  <a:lnTo>
                    <a:pt x="43" y="32"/>
                  </a:lnTo>
                  <a:lnTo>
                    <a:pt x="56" y="26"/>
                  </a:lnTo>
                  <a:lnTo>
                    <a:pt x="65" y="25"/>
                  </a:lnTo>
                  <a:lnTo>
                    <a:pt x="125" y="14"/>
                  </a:lnTo>
                  <a:lnTo>
                    <a:pt x="189" y="6"/>
                  </a:lnTo>
                  <a:lnTo>
                    <a:pt x="257" y="2"/>
                  </a:lnTo>
                  <a:lnTo>
                    <a:pt x="3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987">
              <a:extLst>
                <a:ext uri="{FF2B5EF4-FFF2-40B4-BE49-F238E27FC236}">
                  <a16:creationId xmlns:a16="http://schemas.microsoft.com/office/drawing/2014/main" id="{7AC3C8B3-4E9E-87AE-CDCD-8F69CE296C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66" y="1785"/>
              <a:ext cx="809" cy="999"/>
            </a:xfrm>
            <a:custGeom>
              <a:avLst/>
              <a:gdLst>
                <a:gd name="T0" fmla="*/ 737 w 1617"/>
                <a:gd name="T1" fmla="*/ 1508 h 1997"/>
                <a:gd name="T2" fmla="*/ 710 w 1617"/>
                <a:gd name="T3" fmla="*/ 1535 h 1997"/>
                <a:gd name="T4" fmla="*/ 710 w 1617"/>
                <a:gd name="T5" fmla="*/ 1575 h 1997"/>
                <a:gd name="T6" fmla="*/ 737 w 1617"/>
                <a:gd name="T7" fmla="*/ 1602 h 1997"/>
                <a:gd name="T8" fmla="*/ 777 w 1617"/>
                <a:gd name="T9" fmla="*/ 1602 h 1997"/>
                <a:gd name="T10" fmla="*/ 804 w 1617"/>
                <a:gd name="T11" fmla="*/ 1575 h 1997"/>
                <a:gd name="T12" fmla="*/ 804 w 1617"/>
                <a:gd name="T13" fmla="*/ 1535 h 1997"/>
                <a:gd name="T14" fmla="*/ 777 w 1617"/>
                <a:gd name="T15" fmla="*/ 1508 h 1997"/>
                <a:gd name="T16" fmla="*/ 1087 w 1617"/>
                <a:gd name="T17" fmla="*/ 1403 h 1997"/>
                <a:gd name="T18" fmla="*/ 1041 w 1617"/>
                <a:gd name="T19" fmla="*/ 1415 h 1997"/>
                <a:gd name="T20" fmla="*/ 1008 w 1617"/>
                <a:gd name="T21" fmla="*/ 1448 h 1997"/>
                <a:gd name="T22" fmla="*/ 996 w 1617"/>
                <a:gd name="T23" fmla="*/ 1494 h 1997"/>
                <a:gd name="T24" fmla="*/ 1008 w 1617"/>
                <a:gd name="T25" fmla="*/ 1539 h 1997"/>
                <a:gd name="T26" fmla="*/ 1041 w 1617"/>
                <a:gd name="T27" fmla="*/ 1573 h 1997"/>
                <a:gd name="T28" fmla="*/ 1087 w 1617"/>
                <a:gd name="T29" fmla="*/ 1586 h 1997"/>
                <a:gd name="T30" fmla="*/ 1134 w 1617"/>
                <a:gd name="T31" fmla="*/ 1573 h 1997"/>
                <a:gd name="T32" fmla="*/ 1166 w 1617"/>
                <a:gd name="T33" fmla="*/ 1539 h 1997"/>
                <a:gd name="T34" fmla="*/ 1178 w 1617"/>
                <a:gd name="T35" fmla="*/ 1494 h 1997"/>
                <a:gd name="T36" fmla="*/ 1166 w 1617"/>
                <a:gd name="T37" fmla="*/ 1448 h 1997"/>
                <a:gd name="T38" fmla="*/ 1134 w 1617"/>
                <a:gd name="T39" fmla="*/ 1415 h 1997"/>
                <a:gd name="T40" fmla="*/ 1087 w 1617"/>
                <a:gd name="T41" fmla="*/ 1403 h 1997"/>
                <a:gd name="T42" fmla="*/ 735 w 1617"/>
                <a:gd name="T43" fmla="*/ 1208 h 1997"/>
                <a:gd name="T44" fmla="*/ 701 w 1617"/>
                <a:gd name="T45" fmla="*/ 1232 h 1997"/>
                <a:gd name="T46" fmla="*/ 686 w 1617"/>
                <a:gd name="T47" fmla="*/ 1275 h 1997"/>
                <a:gd name="T48" fmla="*/ 701 w 1617"/>
                <a:gd name="T49" fmla="*/ 1317 h 1997"/>
                <a:gd name="T50" fmla="*/ 735 w 1617"/>
                <a:gd name="T51" fmla="*/ 1343 h 1997"/>
                <a:gd name="T52" fmla="*/ 780 w 1617"/>
                <a:gd name="T53" fmla="*/ 1343 h 1997"/>
                <a:gd name="T54" fmla="*/ 815 w 1617"/>
                <a:gd name="T55" fmla="*/ 1317 h 1997"/>
                <a:gd name="T56" fmla="*/ 829 w 1617"/>
                <a:gd name="T57" fmla="*/ 1275 h 1997"/>
                <a:gd name="T58" fmla="*/ 815 w 1617"/>
                <a:gd name="T59" fmla="*/ 1232 h 1997"/>
                <a:gd name="T60" fmla="*/ 780 w 1617"/>
                <a:gd name="T61" fmla="*/ 1208 h 1997"/>
                <a:gd name="T62" fmla="*/ 644 w 1617"/>
                <a:gd name="T63" fmla="*/ 364 h 1997"/>
                <a:gd name="T64" fmla="*/ 642 w 1617"/>
                <a:gd name="T65" fmla="*/ 950 h 1997"/>
                <a:gd name="T66" fmla="*/ 601 w 1617"/>
                <a:gd name="T67" fmla="*/ 1040 h 1997"/>
                <a:gd name="T68" fmla="*/ 981 w 1617"/>
                <a:gd name="T69" fmla="*/ 968 h 1997"/>
                <a:gd name="T70" fmla="*/ 972 w 1617"/>
                <a:gd name="T71" fmla="*/ 931 h 1997"/>
                <a:gd name="T72" fmla="*/ 644 w 1617"/>
                <a:gd name="T73" fmla="*/ 364 h 1997"/>
                <a:gd name="T74" fmla="*/ 1164 w 1617"/>
                <a:gd name="T75" fmla="*/ 0 h 1997"/>
                <a:gd name="T76" fmla="*/ 1208 w 1617"/>
                <a:gd name="T77" fmla="*/ 15 h 1997"/>
                <a:gd name="T78" fmla="*/ 1236 w 1617"/>
                <a:gd name="T79" fmla="*/ 51 h 1997"/>
                <a:gd name="T80" fmla="*/ 1238 w 1617"/>
                <a:gd name="T81" fmla="*/ 289 h 1997"/>
                <a:gd name="T82" fmla="*/ 1225 w 1617"/>
                <a:gd name="T83" fmla="*/ 334 h 1997"/>
                <a:gd name="T84" fmla="*/ 1187 w 1617"/>
                <a:gd name="T85" fmla="*/ 361 h 1997"/>
                <a:gd name="T86" fmla="*/ 1144 w 1617"/>
                <a:gd name="T87" fmla="*/ 364 h 1997"/>
                <a:gd name="T88" fmla="*/ 1609 w 1617"/>
                <a:gd name="T89" fmla="*/ 1873 h 1997"/>
                <a:gd name="T90" fmla="*/ 1617 w 1617"/>
                <a:gd name="T91" fmla="*/ 1916 h 1997"/>
                <a:gd name="T92" fmla="*/ 1603 w 1617"/>
                <a:gd name="T93" fmla="*/ 1956 h 1997"/>
                <a:gd name="T94" fmla="*/ 1572 w 1617"/>
                <a:gd name="T95" fmla="*/ 1986 h 1997"/>
                <a:gd name="T96" fmla="*/ 1531 w 1617"/>
                <a:gd name="T97" fmla="*/ 1997 h 1997"/>
                <a:gd name="T98" fmla="*/ 64 w 1617"/>
                <a:gd name="T99" fmla="*/ 1995 h 1997"/>
                <a:gd name="T100" fmla="*/ 27 w 1617"/>
                <a:gd name="T101" fmla="*/ 1973 h 1997"/>
                <a:gd name="T102" fmla="*/ 4 w 1617"/>
                <a:gd name="T103" fmla="*/ 1936 h 1997"/>
                <a:gd name="T104" fmla="*/ 1 w 1617"/>
                <a:gd name="T105" fmla="*/ 1894 h 1997"/>
                <a:gd name="T106" fmla="*/ 472 w 1617"/>
                <a:gd name="T107" fmla="*/ 911 h 1997"/>
                <a:gd name="T108" fmla="*/ 453 w 1617"/>
                <a:gd name="T109" fmla="*/ 364 h 1997"/>
                <a:gd name="T110" fmla="*/ 408 w 1617"/>
                <a:gd name="T111" fmla="*/ 350 h 1997"/>
                <a:gd name="T112" fmla="*/ 381 w 1617"/>
                <a:gd name="T113" fmla="*/ 313 h 1997"/>
                <a:gd name="T114" fmla="*/ 378 w 1617"/>
                <a:gd name="T115" fmla="*/ 75 h 1997"/>
                <a:gd name="T116" fmla="*/ 392 w 1617"/>
                <a:gd name="T117" fmla="*/ 31 h 1997"/>
                <a:gd name="T118" fmla="*/ 428 w 1617"/>
                <a:gd name="T119" fmla="*/ 4 h 1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17" h="1997">
                  <a:moveTo>
                    <a:pt x="758" y="1504"/>
                  </a:moveTo>
                  <a:lnTo>
                    <a:pt x="737" y="1508"/>
                  </a:lnTo>
                  <a:lnTo>
                    <a:pt x="721" y="1519"/>
                  </a:lnTo>
                  <a:lnTo>
                    <a:pt x="710" y="1535"/>
                  </a:lnTo>
                  <a:lnTo>
                    <a:pt x="706" y="1554"/>
                  </a:lnTo>
                  <a:lnTo>
                    <a:pt x="710" y="1575"/>
                  </a:lnTo>
                  <a:lnTo>
                    <a:pt x="721" y="1591"/>
                  </a:lnTo>
                  <a:lnTo>
                    <a:pt x="737" y="1602"/>
                  </a:lnTo>
                  <a:lnTo>
                    <a:pt x="758" y="1606"/>
                  </a:lnTo>
                  <a:lnTo>
                    <a:pt x="777" y="1602"/>
                  </a:lnTo>
                  <a:lnTo>
                    <a:pt x="793" y="1591"/>
                  </a:lnTo>
                  <a:lnTo>
                    <a:pt x="804" y="1575"/>
                  </a:lnTo>
                  <a:lnTo>
                    <a:pt x="808" y="1554"/>
                  </a:lnTo>
                  <a:lnTo>
                    <a:pt x="804" y="1535"/>
                  </a:lnTo>
                  <a:lnTo>
                    <a:pt x="793" y="1519"/>
                  </a:lnTo>
                  <a:lnTo>
                    <a:pt x="777" y="1508"/>
                  </a:lnTo>
                  <a:lnTo>
                    <a:pt x="758" y="1504"/>
                  </a:lnTo>
                  <a:close/>
                  <a:moveTo>
                    <a:pt x="1087" y="1403"/>
                  </a:moveTo>
                  <a:lnTo>
                    <a:pt x="1063" y="1406"/>
                  </a:lnTo>
                  <a:lnTo>
                    <a:pt x="1041" y="1415"/>
                  </a:lnTo>
                  <a:lnTo>
                    <a:pt x="1023" y="1429"/>
                  </a:lnTo>
                  <a:lnTo>
                    <a:pt x="1008" y="1448"/>
                  </a:lnTo>
                  <a:lnTo>
                    <a:pt x="999" y="1470"/>
                  </a:lnTo>
                  <a:lnTo>
                    <a:pt x="996" y="1494"/>
                  </a:lnTo>
                  <a:lnTo>
                    <a:pt x="999" y="1517"/>
                  </a:lnTo>
                  <a:lnTo>
                    <a:pt x="1008" y="1539"/>
                  </a:lnTo>
                  <a:lnTo>
                    <a:pt x="1023" y="1558"/>
                  </a:lnTo>
                  <a:lnTo>
                    <a:pt x="1041" y="1573"/>
                  </a:lnTo>
                  <a:lnTo>
                    <a:pt x="1063" y="1581"/>
                  </a:lnTo>
                  <a:lnTo>
                    <a:pt x="1087" y="1586"/>
                  </a:lnTo>
                  <a:lnTo>
                    <a:pt x="1112" y="1581"/>
                  </a:lnTo>
                  <a:lnTo>
                    <a:pt x="1134" y="1573"/>
                  </a:lnTo>
                  <a:lnTo>
                    <a:pt x="1151" y="1558"/>
                  </a:lnTo>
                  <a:lnTo>
                    <a:pt x="1166" y="1539"/>
                  </a:lnTo>
                  <a:lnTo>
                    <a:pt x="1176" y="1517"/>
                  </a:lnTo>
                  <a:lnTo>
                    <a:pt x="1178" y="1494"/>
                  </a:lnTo>
                  <a:lnTo>
                    <a:pt x="1176" y="1470"/>
                  </a:lnTo>
                  <a:lnTo>
                    <a:pt x="1166" y="1448"/>
                  </a:lnTo>
                  <a:lnTo>
                    <a:pt x="1151" y="1429"/>
                  </a:lnTo>
                  <a:lnTo>
                    <a:pt x="1134" y="1415"/>
                  </a:lnTo>
                  <a:lnTo>
                    <a:pt x="1112" y="1406"/>
                  </a:lnTo>
                  <a:lnTo>
                    <a:pt x="1087" y="1403"/>
                  </a:lnTo>
                  <a:close/>
                  <a:moveTo>
                    <a:pt x="758" y="1204"/>
                  </a:moveTo>
                  <a:lnTo>
                    <a:pt x="735" y="1208"/>
                  </a:lnTo>
                  <a:lnTo>
                    <a:pt x="716" y="1217"/>
                  </a:lnTo>
                  <a:lnTo>
                    <a:pt x="701" y="1232"/>
                  </a:lnTo>
                  <a:lnTo>
                    <a:pt x="690" y="1253"/>
                  </a:lnTo>
                  <a:lnTo>
                    <a:pt x="686" y="1275"/>
                  </a:lnTo>
                  <a:lnTo>
                    <a:pt x="690" y="1298"/>
                  </a:lnTo>
                  <a:lnTo>
                    <a:pt x="701" y="1317"/>
                  </a:lnTo>
                  <a:lnTo>
                    <a:pt x="716" y="1332"/>
                  </a:lnTo>
                  <a:lnTo>
                    <a:pt x="735" y="1343"/>
                  </a:lnTo>
                  <a:lnTo>
                    <a:pt x="758" y="1346"/>
                  </a:lnTo>
                  <a:lnTo>
                    <a:pt x="780" y="1343"/>
                  </a:lnTo>
                  <a:lnTo>
                    <a:pt x="799" y="1332"/>
                  </a:lnTo>
                  <a:lnTo>
                    <a:pt x="815" y="1317"/>
                  </a:lnTo>
                  <a:lnTo>
                    <a:pt x="825" y="1298"/>
                  </a:lnTo>
                  <a:lnTo>
                    <a:pt x="829" y="1275"/>
                  </a:lnTo>
                  <a:lnTo>
                    <a:pt x="825" y="1253"/>
                  </a:lnTo>
                  <a:lnTo>
                    <a:pt x="815" y="1232"/>
                  </a:lnTo>
                  <a:lnTo>
                    <a:pt x="799" y="1217"/>
                  </a:lnTo>
                  <a:lnTo>
                    <a:pt x="780" y="1208"/>
                  </a:lnTo>
                  <a:lnTo>
                    <a:pt x="758" y="1204"/>
                  </a:lnTo>
                  <a:close/>
                  <a:moveTo>
                    <a:pt x="644" y="364"/>
                  </a:moveTo>
                  <a:lnTo>
                    <a:pt x="644" y="931"/>
                  </a:lnTo>
                  <a:lnTo>
                    <a:pt x="642" y="950"/>
                  </a:lnTo>
                  <a:lnTo>
                    <a:pt x="635" y="968"/>
                  </a:lnTo>
                  <a:lnTo>
                    <a:pt x="601" y="1040"/>
                  </a:lnTo>
                  <a:lnTo>
                    <a:pt x="1015" y="1040"/>
                  </a:lnTo>
                  <a:lnTo>
                    <a:pt x="981" y="968"/>
                  </a:lnTo>
                  <a:lnTo>
                    <a:pt x="974" y="950"/>
                  </a:lnTo>
                  <a:lnTo>
                    <a:pt x="972" y="931"/>
                  </a:lnTo>
                  <a:lnTo>
                    <a:pt x="972" y="364"/>
                  </a:lnTo>
                  <a:lnTo>
                    <a:pt x="644" y="364"/>
                  </a:lnTo>
                  <a:close/>
                  <a:moveTo>
                    <a:pt x="453" y="0"/>
                  </a:moveTo>
                  <a:lnTo>
                    <a:pt x="1164" y="0"/>
                  </a:lnTo>
                  <a:lnTo>
                    <a:pt x="1187" y="4"/>
                  </a:lnTo>
                  <a:lnTo>
                    <a:pt x="1208" y="15"/>
                  </a:lnTo>
                  <a:lnTo>
                    <a:pt x="1225" y="31"/>
                  </a:lnTo>
                  <a:lnTo>
                    <a:pt x="1236" y="51"/>
                  </a:lnTo>
                  <a:lnTo>
                    <a:pt x="1238" y="75"/>
                  </a:lnTo>
                  <a:lnTo>
                    <a:pt x="1238" y="289"/>
                  </a:lnTo>
                  <a:lnTo>
                    <a:pt x="1236" y="313"/>
                  </a:lnTo>
                  <a:lnTo>
                    <a:pt x="1225" y="334"/>
                  </a:lnTo>
                  <a:lnTo>
                    <a:pt x="1208" y="350"/>
                  </a:lnTo>
                  <a:lnTo>
                    <a:pt x="1187" y="361"/>
                  </a:lnTo>
                  <a:lnTo>
                    <a:pt x="1164" y="364"/>
                  </a:lnTo>
                  <a:lnTo>
                    <a:pt x="1144" y="364"/>
                  </a:lnTo>
                  <a:lnTo>
                    <a:pt x="1144" y="911"/>
                  </a:lnTo>
                  <a:lnTo>
                    <a:pt x="1609" y="1873"/>
                  </a:lnTo>
                  <a:lnTo>
                    <a:pt x="1615" y="1894"/>
                  </a:lnTo>
                  <a:lnTo>
                    <a:pt x="1617" y="1916"/>
                  </a:lnTo>
                  <a:lnTo>
                    <a:pt x="1613" y="1936"/>
                  </a:lnTo>
                  <a:lnTo>
                    <a:pt x="1603" y="1956"/>
                  </a:lnTo>
                  <a:lnTo>
                    <a:pt x="1590" y="1973"/>
                  </a:lnTo>
                  <a:lnTo>
                    <a:pt x="1572" y="1986"/>
                  </a:lnTo>
                  <a:lnTo>
                    <a:pt x="1553" y="1995"/>
                  </a:lnTo>
                  <a:lnTo>
                    <a:pt x="1531" y="1997"/>
                  </a:lnTo>
                  <a:lnTo>
                    <a:pt x="85" y="1997"/>
                  </a:lnTo>
                  <a:lnTo>
                    <a:pt x="64" y="1995"/>
                  </a:lnTo>
                  <a:lnTo>
                    <a:pt x="45" y="1986"/>
                  </a:lnTo>
                  <a:lnTo>
                    <a:pt x="27" y="1973"/>
                  </a:lnTo>
                  <a:lnTo>
                    <a:pt x="13" y="1956"/>
                  </a:lnTo>
                  <a:lnTo>
                    <a:pt x="4" y="1936"/>
                  </a:lnTo>
                  <a:lnTo>
                    <a:pt x="0" y="1916"/>
                  </a:lnTo>
                  <a:lnTo>
                    <a:pt x="1" y="1894"/>
                  </a:lnTo>
                  <a:lnTo>
                    <a:pt x="8" y="1873"/>
                  </a:lnTo>
                  <a:lnTo>
                    <a:pt x="472" y="911"/>
                  </a:lnTo>
                  <a:lnTo>
                    <a:pt x="472" y="364"/>
                  </a:lnTo>
                  <a:lnTo>
                    <a:pt x="453" y="364"/>
                  </a:lnTo>
                  <a:lnTo>
                    <a:pt x="428" y="361"/>
                  </a:lnTo>
                  <a:lnTo>
                    <a:pt x="408" y="350"/>
                  </a:lnTo>
                  <a:lnTo>
                    <a:pt x="392" y="334"/>
                  </a:lnTo>
                  <a:lnTo>
                    <a:pt x="381" y="313"/>
                  </a:lnTo>
                  <a:lnTo>
                    <a:pt x="378" y="289"/>
                  </a:lnTo>
                  <a:lnTo>
                    <a:pt x="378" y="75"/>
                  </a:lnTo>
                  <a:lnTo>
                    <a:pt x="381" y="51"/>
                  </a:lnTo>
                  <a:lnTo>
                    <a:pt x="392" y="31"/>
                  </a:lnTo>
                  <a:lnTo>
                    <a:pt x="408" y="15"/>
                  </a:lnTo>
                  <a:lnTo>
                    <a:pt x="428" y="4"/>
                  </a:lnTo>
                  <a:lnTo>
                    <a:pt x="4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988">
              <a:extLst>
                <a:ext uri="{FF2B5EF4-FFF2-40B4-BE49-F238E27FC236}">
                  <a16:creationId xmlns:a16="http://schemas.microsoft.com/office/drawing/2014/main" id="{1DCFA1DE-06AE-75CB-42F3-B95D52A6B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5" y="1785"/>
              <a:ext cx="1495" cy="1035"/>
            </a:xfrm>
            <a:custGeom>
              <a:avLst/>
              <a:gdLst>
                <a:gd name="T0" fmla="*/ 1105 w 2989"/>
                <a:gd name="T1" fmla="*/ 808 h 2070"/>
                <a:gd name="T2" fmla="*/ 1093 w 2989"/>
                <a:gd name="T3" fmla="*/ 851 h 2070"/>
                <a:gd name="T4" fmla="*/ 655 w 2989"/>
                <a:gd name="T5" fmla="*/ 983 h 2070"/>
                <a:gd name="T6" fmla="*/ 1311 w 2989"/>
                <a:gd name="T7" fmla="*/ 983 h 2070"/>
                <a:gd name="T8" fmla="*/ 1252 w 2989"/>
                <a:gd name="T9" fmla="*/ 897 h 2070"/>
                <a:gd name="T10" fmla="*/ 1218 w 2989"/>
                <a:gd name="T11" fmla="*/ 863 h 2070"/>
                <a:gd name="T12" fmla="*/ 1197 w 2989"/>
                <a:gd name="T13" fmla="*/ 851 h 2070"/>
                <a:gd name="T14" fmla="*/ 1176 w 2989"/>
                <a:gd name="T15" fmla="*/ 823 h 2070"/>
                <a:gd name="T16" fmla="*/ 1137 w 2989"/>
                <a:gd name="T17" fmla="*/ 796 h 2070"/>
                <a:gd name="T18" fmla="*/ 1352 w 2989"/>
                <a:gd name="T19" fmla="*/ 15 h 2070"/>
                <a:gd name="T20" fmla="*/ 1572 w 2989"/>
                <a:gd name="T21" fmla="*/ 147 h 2070"/>
                <a:gd name="T22" fmla="*/ 1752 w 2989"/>
                <a:gd name="T23" fmla="*/ 207 h 2070"/>
                <a:gd name="T24" fmla="*/ 1919 w 2989"/>
                <a:gd name="T25" fmla="*/ 576 h 2070"/>
                <a:gd name="T26" fmla="*/ 2087 w 2989"/>
                <a:gd name="T27" fmla="*/ 207 h 2070"/>
                <a:gd name="T28" fmla="*/ 2267 w 2989"/>
                <a:gd name="T29" fmla="*/ 147 h 2070"/>
                <a:gd name="T30" fmla="*/ 2487 w 2989"/>
                <a:gd name="T31" fmla="*/ 15 h 2070"/>
                <a:gd name="T32" fmla="*/ 2546 w 2989"/>
                <a:gd name="T33" fmla="*/ 1 h 2070"/>
                <a:gd name="T34" fmla="*/ 2614 w 2989"/>
                <a:gd name="T35" fmla="*/ 34 h 2070"/>
                <a:gd name="T36" fmla="*/ 2773 w 2989"/>
                <a:gd name="T37" fmla="*/ 120 h 2070"/>
                <a:gd name="T38" fmla="*/ 2895 w 2989"/>
                <a:gd name="T39" fmla="*/ 289 h 2070"/>
                <a:gd name="T40" fmla="*/ 2921 w 2989"/>
                <a:gd name="T41" fmla="*/ 391 h 2070"/>
                <a:gd name="T42" fmla="*/ 2989 w 2989"/>
                <a:gd name="T43" fmla="*/ 467 h 2070"/>
                <a:gd name="T44" fmla="*/ 2527 w 2989"/>
                <a:gd name="T45" fmla="*/ 1847 h 2070"/>
                <a:gd name="T46" fmla="*/ 2522 w 2989"/>
                <a:gd name="T47" fmla="*/ 1961 h 2070"/>
                <a:gd name="T48" fmla="*/ 2557 w 2989"/>
                <a:gd name="T49" fmla="*/ 2037 h 2070"/>
                <a:gd name="T50" fmla="*/ 2194 w 2989"/>
                <a:gd name="T51" fmla="*/ 2064 h 2070"/>
                <a:gd name="T52" fmla="*/ 1775 w 2989"/>
                <a:gd name="T53" fmla="*/ 2068 h 2070"/>
                <a:gd name="T54" fmla="*/ 1386 w 2989"/>
                <a:gd name="T55" fmla="*/ 2046 h 2070"/>
                <a:gd name="T56" fmla="*/ 1058 w 2989"/>
                <a:gd name="T57" fmla="*/ 2004 h 2070"/>
                <a:gd name="T58" fmla="*/ 784 w 2989"/>
                <a:gd name="T59" fmla="*/ 1946 h 2070"/>
                <a:gd name="T60" fmla="*/ 562 w 2989"/>
                <a:gd name="T61" fmla="*/ 1873 h 2070"/>
                <a:gd name="T62" fmla="*/ 385 w 2989"/>
                <a:gd name="T63" fmla="*/ 1796 h 2070"/>
                <a:gd name="T64" fmla="*/ 249 w 2989"/>
                <a:gd name="T65" fmla="*/ 1715 h 2070"/>
                <a:gd name="T66" fmla="*/ 150 w 2989"/>
                <a:gd name="T67" fmla="*/ 1637 h 2070"/>
                <a:gd name="T68" fmla="*/ 79 w 2989"/>
                <a:gd name="T69" fmla="*/ 1566 h 2070"/>
                <a:gd name="T70" fmla="*/ 35 w 2989"/>
                <a:gd name="T71" fmla="*/ 1508 h 2070"/>
                <a:gd name="T72" fmla="*/ 12 w 2989"/>
                <a:gd name="T73" fmla="*/ 1467 h 2070"/>
                <a:gd name="T74" fmla="*/ 3 w 2989"/>
                <a:gd name="T75" fmla="*/ 1448 h 2070"/>
                <a:gd name="T76" fmla="*/ 4 w 2989"/>
                <a:gd name="T77" fmla="*/ 1388 h 2070"/>
                <a:gd name="T78" fmla="*/ 27 w 2989"/>
                <a:gd name="T79" fmla="*/ 1269 h 2070"/>
                <a:gd name="T80" fmla="*/ 67 w 2989"/>
                <a:gd name="T81" fmla="*/ 1103 h 2070"/>
                <a:gd name="T82" fmla="*/ 125 w 2989"/>
                <a:gd name="T83" fmla="*/ 916 h 2070"/>
                <a:gd name="T84" fmla="*/ 203 w 2989"/>
                <a:gd name="T85" fmla="*/ 733 h 2070"/>
                <a:gd name="T86" fmla="*/ 302 w 2989"/>
                <a:gd name="T87" fmla="*/ 581 h 2070"/>
                <a:gd name="T88" fmla="*/ 408 w 2989"/>
                <a:gd name="T89" fmla="*/ 491 h 2070"/>
                <a:gd name="T90" fmla="*/ 527 w 2989"/>
                <a:gd name="T91" fmla="*/ 418 h 2070"/>
                <a:gd name="T92" fmla="*/ 683 w 2989"/>
                <a:gd name="T93" fmla="*/ 330 h 2070"/>
                <a:gd name="T94" fmla="*/ 859 w 2989"/>
                <a:gd name="T95" fmla="*/ 233 h 2070"/>
                <a:gd name="T96" fmla="*/ 1035 w 2989"/>
                <a:gd name="T97" fmla="*/ 137 h 2070"/>
                <a:gd name="T98" fmla="*/ 1190 w 2989"/>
                <a:gd name="T99" fmla="*/ 53 h 2070"/>
                <a:gd name="T100" fmla="*/ 1293 w 2989"/>
                <a:gd name="T101" fmla="*/ 1 h 2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89" h="2070">
                  <a:moveTo>
                    <a:pt x="1137" y="796"/>
                  </a:moveTo>
                  <a:lnTo>
                    <a:pt x="1119" y="800"/>
                  </a:lnTo>
                  <a:lnTo>
                    <a:pt x="1105" y="808"/>
                  </a:lnTo>
                  <a:lnTo>
                    <a:pt x="1096" y="823"/>
                  </a:lnTo>
                  <a:lnTo>
                    <a:pt x="1093" y="840"/>
                  </a:lnTo>
                  <a:lnTo>
                    <a:pt x="1093" y="851"/>
                  </a:lnTo>
                  <a:lnTo>
                    <a:pt x="1075" y="851"/>
                  </a:lnTo>
                  <a:lnTo>
                    <a:pt x="1075" y="983"/>
                  </a:lnTo>
                  <a:lnTo>
                    <a:pt x="655" y="983"/>
                  </a:lnTo>
                  <a:lnTo>
                    <a:pt x="655" y="1122"/>
                  </a:lnTo>
                  <a:lnTo>
                    <a:pt x="1311" y="1122"/>
                  </a:lnTo>
                  <a:lnTo>
                    <a:pt x="1311" y="983"/>
                  </a:lnTo>
                  <a:lnTo>
                    <a:pt x="1255" y="983"/>
                  </a:lnTo>
                  <a:lnTo>
                    <a:pt x="1255" y="913"/>
                  </a:lnTo>
                  <a:lnTo>
                    <a:pt x="1252" y="897"/>
                  </a:lnTo>
                  <a:lnTo>
                    <a:pt x="1244" y="882"/>
                  </a:lnTo>
                  <a:lnTo>
                    <a:pt x="1233" y="871"/>
                  </a:lnTo>
                  <a:lnTo>
                    <a:pt x="1218" y="863"/>
                  </a:lnTo>
                  <a:lnTo>
                    <a:pt x="1202" y="860"/>
                  </a:lnTo>
                  <a:lnTo>
                    <a:pt x="1197" y="860"/>
                  </a:lnTo>
                  <a:lnTo>
                    <a:pt x="1197" y="851"/>
                  </a:lnTo>
                  <a:lnTo>
                    <a:pt x="1180" y="851"/>
                  </a:lnTo>
                  <a:lnTo>
                    <a:pt x="1180" y="840"/>
                  </a:lnTo>
                  <a:lnTo>
                    <a:pt x="1176" y="823"/>
                  </a:lnTo>
                  <a:lnTo>
                    <a:pt x="1167" y="808"/>
                  </a:lnTo>
                  <a:lnTo>
                    <a:pt x="1153" y="800"/>
                  </a:lnTo>
                  <a:lnTo>
                    <a:pt x="1137" y="796"/>
                  </a:lnTo>
                  <a:close/>
                  <a:moveTo>
                    <a:pt x="1314" y="0"/>
                  </a:moveTo>
                  <a:lnTo>
                    <a:pt x="1334" y="4"/>
                  </a:lnTo>
                  <a:lnTo>
                    <a:pt x="1352" y="15"/>
                  </a:lnTo>
                  <a:lnTo>
                    <a:pt x="1423" y="66"/>
                  </a:lnTo>
                  <a:lnTo>
                    <a:pt x="1496" y="110"/>
                  </a:lnTo>
                  <a:lnTo>
                    <a:pt x="1572" y="147"/>
                  </a:lnTo>
                  <a:lnTo>
                    <a:pt x="1650" y="176"/>
                  </a:lnTo>
                  <a:lnTo>
                    <a:pt x="1730" y="197"/>
                  </a:lnTo>
                  <a:lnTo>
                    <a:pt x="1752" y="207"/>
                  </a:lnTo>
                  <a:lnTo>
                    <a:pt x="1770" y="222"/>
                  </a:lnTo>
                  <a:lnTo>
                    <a:pt x="1782" y="241"/>
                  </a:lnTo>
                  <a:lnTo>
                    <a:pt x="1919" y="576"/>
                  </a:lnTo>
                  <a:lnTo>
                    <a:pt x="2058" y="241"/>
                  </a:lnTo>
                  <a:lnTo>
                    <a:pt x="2069" y="222"/>
                  </a:lnTo>
                  <a:lnTo>
                    <a:pt x="2087" y="207"/>
                  </a:lnTo>
                  <a:lnTo>
                    <a:pt x="2109" y="197"/>
                  </a:lnTo>
                  <a:lnTo>
                    <a:pt x="2189" y="176"/>
                  </a:lnTo>
                  <a:lnTo>
                    <a:pt x="2267" y="147"/>
                  </a:lnTo>
                  <a:lnTo>
                    <a:pt x="2343" y="110"/>
                  </a:lnTo>
                  <a:lnTo>
                    <a:pt x="2416" y="66"/>
                  </a:lnTo>
                  <a:lnTo>
                    <a:pt x="2487" y="15"/>
                  </a:lnTo>
                  <a:lnTo>
                    <a:pt x="2505" y="4"/>
                  </a:lnTo>
                  <a:lnTo>
                    <a:pt x="2525" y="0"/>
                  </a:lnTo>
                  <a:lnTo>
                    <a:pt x="2546" y="1"/>
                  </a:lnTo>
                  <a:lnTo>
                    <a:pt x="2566" y="8"/>
                  </a:lnTo>
                  <a:lnTo>
                    <a:pt x="2570" y="11"/>
                  </a:lnTo>
                  <a:lnTo>
                    <a:pt x="2614" y="34"/>
                  </a:lnTo>
                  <a:lnTo>
                    <a:pt x="2661" y="60"/>
                  </a:lnTo>
                  <a:lnTo>
                    <a:pt x="2716" y="88"/>
                  </a:lnTo>
                  <a:lnTo>
                    <a:pt x="2773" y="120"/>
                  </a:lnTo>
                  <a:lnTo>
                    <a:pt x="2833" y="151"/>
                  </a:lnTo>
                  <a:lnTo>
                    <a:pt x="2895" y="185"/>
                  </a:lnTo>
                  <a:lnTo>
                    <a:pt x="2895" y="289"/>
                  </a:lnTo>
                  <a:lnTo>
                    <a:pt x="2898" y="326"/>
                  </a:lnTo>
                  <a:lnTo>
                    <a:pt x="2908" y="360"/>
                  </a:lnTo>
                  <a:lnTo>
                    <a:pt x="2921" y="391"/>
                  </a:lnTo>
                  <a:lnTo>
                    <a:pt x="2940" y="420"/>
                  </a:lnTo>
                  <a:lnTo>
                    <a:pt x="2964" y="446"/>
                  </a:lnTo>
                  <a:lnTo>
                    <a:pt x="2989" y="467"/>
                  </a:lnTo>
                  <a:lnTo>
                    <a:pt x="2989" y="879"/>
                  </a:lnTo>
                  <a:lnTo>
                    <a:pt x="2540" y="1812"/>
                  </a:lnTo>
                  <a:lnTo>
                    <a:pt x="2527" y="1847"/>
                  </a:lnTo>
                  <a:lnTo>
                    <a:pt x="2518" y="1886"/>
                  </a:lnTo>
                  <a:lnTo>
                    <a:pt x="2518" y="1924"/>
                  </a:lnTo>
                  <a:lnTo>
                    <a:pt x="2522" y="1961"/>
                  </a:lnTo>
                  <a:lnTo>
                    <a:pt x="2535" y="1997"/>
                  </a:lnTo>
                  <a:lnTo>
                    <a:pt x="2552" y="2031"/>
                  </a:lnTo>
                  <a:lnTo>
                    <a:pt x="2557" y="2037"/>
                  </a:lnTo>
                  <a:lnTo>
                    <a:pt x="2442" y="2048"/>
                  </a:lnTo>
                  <a:lnTo>
                    <a:pt x="2321" y="2057"/>
                  </a:lnTo>
                  <a:lnTo>
                    <a:pt x="2194" y="2064"/>
                  </a:lnTo>
                  <a:lnTo>
                    <a:pt x="2061" y="2068"/>
                  </a:lnTo>
                  <a:lnTo>
                    <a:pt x="1919" y="2070"/>
                  </a:lnTo>
                  <a:lnTo>
                    <a:pt x="1775" y="2068"/>
                  </a:lnTo>
                  <a:lnTo>
                    <a:pt x="1639" y="2064"/>
                  </a:lnTo>
                  <a:lnTo>
                    <a:pt x="1508" y="2057"/>
                  </a:lnTo>
                  <a:lnTo>
                    <a:pt x="1386" y="2046"/>
                  </a:lnTo>
                  <a:lnTo>
                    <a:pt x="1270" y="2036"/>
                  </a:lnTo>
                  <a:lnTo>
                    <a:pt x="1160" y="2021"/>
                  </a:lnTo>
                  <a:lnTo>
                    <a:pt x="1058" y="2004"/>
                  </a:lnTo>
                  <a:lnTo>
                    <a:pt x="960" y="1986"/>
                  </a:lnTo>
                  <a:lnTo>
                    <a:pt x="870" y="1966"/>
                  </a:lnTo>
                  <a:lnTo>
                    <a:pt x="784" y="1946"/>
                  </a:lnTo>
                  <a:lnTo>
                    <a:pt x="705" y="1922"/>
                  </a:lnTo>
                  <a:lnTo>
                    <a:pt x="630" y="1898"/>
                  </a:lnTo>
                  <a:lnTo>
                    <a:pt x="562" y="1873"/>
                  </a:lnTo>
                  <a:lnTo>
                    <a:pt x="498" y="1849"/>
                  </a:lnTo>
                  <a:lnTo>
                    <a:pt x="440" y="1821"/>
                  </a:lnTo>
                  <a:lnTo>
                    <a:pt x="385" y="1796"/>
                  </a:lnTo>
                  <a:lnTo>
                    <a:pt x="336" y="1768"/>
                  </a:lnTo>
                  <a:lnTo>
                    <a:pt x="291" y="1741"/>
                  </a:lnTo>
                  <a:lnTo>
                    <a:pt x="249" y="1715"/>
                  </a:lnTo>
                  <a:lnTo>
                    <a:pt x="212" y="1688"/>
                  </a:lnTo>
                  <a:lnTo>
                    <a:pt x="180" y="1662"/>
                  </a:lnTo>
                  <a:lnTo>
                    <a:pt x="150" y="1637"/>
                  </a:lnTo>
                  <a:lnTo>
                    <a:pt x="123" y="1613"/>
                  </a:lnTo>
                  <a:lnTo>
                    <a:pt x="99" y="1588"/>
                  </a:lnTo>
                  <a:lnTo>
                    <a:pt x="79" y="1566"/>
                  </a:lnTo>
                  <a:lnTo>
                    <a:pt x="63" y="1546"/>
                  </a:lnTo>
                  <a:lnTo>
                    <a:pt x="48" y="1526"/>
                  </a:lnTo>
                  <a:lnTo>
                    <a:pt x="35" y="1508"/>
                  </a:lnTo>
                  <a:lnTo>
                    <a:pt x="26" y="1493"/>
                  </a:lnTo>
                  <a:lnTo>
                    <a:pt x="18" y="1479"/>
                  </a:lnTo>
                  <a:lnTo>
                    <a:pt x="12" y="1467"/>
                  </a:lnTo>
                  <a:lnTo>
                    <a:pt x="7" y="1459"/>
                  </a:lnTo>
                  <a:lnTo>
                    <a:pt x="4" y="1452"/>
                  </a:lnTo>
                  <a:lnTo>
                    <a:pt x="3" y="1448"/>
                  </a:lnTo>
                  <a:lnTo>
                    <a:pt x="0" y="1430"/>
                  </a:lnTo>
                  <a:lnTo>
                    <a:pt x="0" y="1412"/>
                  </a:lnTo>
                  <a:lnTo>
                    <a:pt x="4" y="1388"/>
                  </a:lnTo>
                  <a:lnTo>
                    <a:pt x="10" y="1355"/>
                  </a:lnTo>
                  <a:lnTo>
                    <a:pt x="18" y="1316"/>
                  </a:lnTo>
                  <a:lnTo>
                    <a:pt x="27" y="1269"/>
                  </a:lnTo>
                  <a:lnTo>
                    <a:pt x="38" y="1217"/>
                  </a:lnTo>
                  <a:lnTo>
                    <a:pt x="52" y="1161"/>
                  </a:lnTo>
                  <a:lnTo>
                    <a:pt x="67" y="1103"/>
                  </a:lnTo>
                  <a:lnTo>
                    <a:pt x="84" y="1041"/>
                  </a:lnTo>
                  <a:lnTo>
                    <a:pt x="103" y="979"/>
                  </a:lnTo>
                  <a:lnTo>
                    <a:pt x="125" y="916"/>
                  </a:lnTo>
                  <a:lnTo>
                    <a:pt x="148" y="853"/>
                  </a:lnTo>
                  <a:lnTo>
                    <a:pt x="174" y="792"/>
                  </a:lnTo>
                  <a:lnTo>
                    <a:pt x="203" y="733"/>
                  </a:lnTo>
                  <a:lnTo>
                    <a:pt x="233" y="677"/>
                  </a:lnTo>
                  <a:lnTo>
                    <a:pt x="267" y="627"/>
                  </a:lnTo>
                  <a:lnTo>
                    <a:pt x="302" y="581"/>
                  </a:lnTo>
                  <a:lnTo>
                    <a:pt x="339" y="541"/>
                  </a:lnTo>
                  <a:lnTo>
                    <a:pt x="380" y="510"/>
                  </a:lnTo>
                  <a:lnTo>
                    <a:pt x="408" y="491"/>
                  </a:lnTo>
                  <a:lnTo>
                    <a:pt x="442" y="469"/>
                  </a:lnTo>
                  <a:lnTo>
                    <a:pt x="482" y="446"/>
                  </a:lnTo>
                  <a:lnTo>
                    <a:pt x="527" y="418"/>
                  </a:lnTo>
                  <a:lnTo>
                    <a:pt x="576" y="391"/>
                  </a:lnTo>
                  <a:lnTo>
                    <a:pt x="629" y="361"/>
                  </a:lnTo>
                  <a:lnTo>
                    <a:pt x="683" y="330"/>
                  </a:lnTo>
                  <a:lnTo>
                    <a:pt x="742" y="297"/>
                  </a:lnTo>
                  <a:lnTo>
                    <a:pt x="800" y="266"/>
                  </a:lnTo>
                  <a:lnTo>
                    <a:pt x="859" y="233"/>
                  </a:lnTo>
                  <a:lnTo>
                    <a:pt x="919" y="200"/>
                  </a:lnTo>
                  <a:lnTo>
                    <a:pt x="977" y="167"/>
                  </a:lnTo>
                  <a:lnTo>
                    <a:pt x="1035" y="137"/>
                  </a:lnTo>
                  <a:lnTo>
                    <a:pt x="1089" y="107"/>
                  </a:lnTo>
                  <a:lnTo>
                    <a:pt x="1141" y="79"/>
                  </a:lnTo>
                  <a:lnTo>
                    <a:pt x="1190" y="53"/>
                  </a:lnTo>
                  <a:lnTo>
                    <a:pt x="1233" y="30"/>
                  </a:lnTo>
                  <a:lnTo>
                    <a:pt x="1273" y="8"/>
                  </a:lnTo>
                  <a:lnTo>
                    <a:pt x="1293" y="1"/>
                  </a:lnTo>
                  <a:lnTo>
                    <a:pt x="13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989">
              <a:extLst>
                <a:ext uri="{FF2B5EF4-FFF2-40B4-BE49-F238E27FC236}">
                  <a16:creationId xmlns:a16="http://schemas.microsoft.com/office/drawing/2014/main" id="{E5457471-3E86-B65C-C184-8091560A0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97" y="2231"/>
              <a:ext cx="13" cy="45"/>
            </a:xfrm>
            <a:custGeom>
              <a:avLst/>
              <a:gdLst>
                <a:gd name="T0" fmla="*/ 5 w 25"/>
                <a:gd name="T1" fmla="*/ 0 h 90"/>
                <a:gd name="T2" fmla="*/ 10 w 25"/>
                <a:gd name="T3" fmla="*/ 1 h 90"/>
                <a:gd name="T4" fmla="*/ 16 w 25"/>
                <a:gd name="T5" fmla="*/ 4 h 90"/>
                <a:gd name="T6" fmla="*/ 21 w 25"/>
                <a:gd name="T7" fmla="*/ 9 h 90"/>
                <a:gd name="T8" fmla="*/ 24 w 25"/>
                <a:gd name="T9" fmla="*/ 15 h 90"/>
                <a:gd name="T10" fmla="*/ 25 w 25"/>
                <a:gd name="T11" fmla="*/ 20 h 90"/>
                <a:gd name="T12" fmla="*/ 25 w 25"/>
                <a:gd name="T13" fmla="*/ 90 h 90"/>
                <a:gd name="T14" fmla="*/ 0 w 25"/>
                <a:gd name="T15" fmla="*/ 90 h 90"/>
                <a:gd name="T16" fmla="*/ 0 w 25"/>
                <a:gd name="T17" fmla="*/ 1 h 90"/>
                <a:gd name="T18" fmla="*/ 5 w 25"/>
                <a:gd name="T1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0">
                  <a:moveTo>
                    <a:pt x="5" y="0"/>
                  </a:moveTo>
                  <a:lnTo>
                    <a:pt x="10" y="1"/>
                  </a:lnTo>
                  <a:lnTo>
                    <a:pt x="16" y="4"/>
                  </a:lnTo>
                  <a:lnTo>
                    <a:pt x="21" y="9"/>
                  </a:lnTo>
                  <a:lnTo>
                    <a:pt x="24" y="15"/>
                  </a:lnTo>
                  <a:lnTo>
                    <a:pt x="25" y="20"/>
                  </a:lnTo>
                  <a:lnTo>
                    <a:pt x="25" y="90"/>
                  </a:lnTo>
                  <a:lnTo>
                    <a:pt x="0" y="90"/>
                  </a:lnTo>
                  <a:lnTo>
                    <a:pt x="0" y="1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41" name="Freeform 1099">
            <a:extLst>
              <a:ext uri="{FF2B5EF4-FFF2-40B4-BE49-F238E27FC236}">
                <a16:creationId xmlns:a16="http://schemas.microsoft.com/office/drawing/2014/main" id="{C8405B67-9D9E-E192-A848-47D095269543}"/>
              </a:ext>
            </a:extLst>
          </p:cNvPr>
          <p:cNvSpPr>
            <a:spLocks noEditPoints="1"/>
          </p:cNvSpPr>
          <p:nvPr/>
        </p:nvSpPr>
        <p:spPr bwMode="auto">
          <a:xfrm>
            <a:off x="6670298" y="5081892"/>
            <a:ext cx="258173" cy="259944"/>
          </a:xfrm>
          <a:custGeom>
            <a:avLst/>
            <a:gdLst>
              <a:gd name="T0" fmla="*/ 2770 w 3499"/>
              <a:gd name="T1" fmla="*/ 2789 h 3524"/>
              <a:gd name="T2" fmla="*/ 2920 w 3499"/>
              <a:gd name="T3" fmla="*/ 2433 h 3524"/>
              <a:gd name="T4" fmla="*/ 2450 w 3499"/>
              <a:gd name="T5" fmla="*/ 1771 h 3524"/>
              <a:gd name="T6" fmla="*/ 2073 w 3499"/>
              <a:gd name="T7" fmla="*/ 1912 h 3524"/>
              <a:gd name="T8" fmla="*/ 1656 w 3499"/>
              <a:gd name="T9" fmla="*/ 2015 h 3524"/>
              <a:gd name="T10" fmla="*/ 1310 w 3499"/>
              <a:gd name="T11" fmla="*/ 2173 h 3524"/>
              <a:gd name="T12" fmla="*/ 1157 w 3499"/>
              <a:gd name="T13" fmla="*/ 2448 h 3524"/>
              <a:gd name="T14" fmla="*/ 1137 w 3499"/>
              <a:gd name="T15" fmla="*/ 2777 h 3524"/>
              <a:gd name="T16" fmla="*/ 1366 w 3499"/>
              <a:gd name="T17" fmla="*/ 3134 h 3524"/>
              <a:gd name="T18" fmla="*/ 1656 w 3499"/>
              <a:gd name="T19" fmla="*/ 3353 h 3524"/>
              <a:gd name="T20" fmla="*/ 1976 w 3499"/>
              <a:gd name="T21" fmla="*/ 3399 h 3524"/>
              <a:gd name="T22" fmla="*/ 2301 w 3499"/>
              <a:gd name="T23" fmla="*/ 3224 h 3524"/>
              <a:gd name="T24" fmla="*/ 2110 w 3499"/>
              <a:gd name="T25" fmla="*/ 3291 h 3524"/>
              <a:gd name="T26" fmla="*/ 1678 w 3499"/>
              <a:gd name="T27" fmla="*/ 3323 h 3524"/>
              <a:gd name="T28" fmla="*/ 1521 w 3499"/>
              <a:gd name="T29" fmla="*/ 3137 h 3524"/>
              <a:gd name="T30" fmla="*/ 1614 w 3499"/>
              <a:gd name="T31" fmla="*/ 2909 h 3524"/>
              <a:gd name="T32" fmla="*/ 2048 w 3499"/>
              <a:gd name="T33" fmla="*/ 2875 h 3524"/>
              <a:gd name="T34" fmla="*/ 2280 w 3499"/>
              <a:gd name="T35" fmla="*/ 3017 h 3524"/>
              <a:gd name="T36" fmla="*/ 2615 w 3499"/>
              <a:gd name="T37" fmla="*/ 2840 h 3524"/>
              <a:gd name="T38" fmla="*/ 2786 w 3499"/>
              <a:gd name="T39" fmla="*/ 2353 h 3524"/>
              <a:gd name="T40" fmla="*/ 2709 w 3499"/>
              <a:gd name="T41" fmla="*/ 2333 h 3524"/>
              <a:gd name="T42" fmla="*/ 2715 w 3499"/>
              <a:gd name="T43" fmla="*/ 2239 h 3524"/>
              <a:gd name="T44" fmla="*/ 2741 w 3499"/>
              <a:gd name="T45" fmla="*/ 2005 h 3524"/>
              <a:gd name="T46" fmla="*/ 2678 w 3499"/>
              <a:gd name="T47" fmla="*/ 1715 h 3524"/>
              <a:gd name="T48" fmla="*/ 1492 w 3499"/>
              <a:gd name="T49" fmla="*/ 192 h 3524"/>
              <a:gd name="T50" fmla="*/ 974 w 3499"/>
              <a:gd name="T51" fmla="*/ 444 h 3524"/>
              <a:gd name="T52" fmla="*/ 631 w 3499"/>
              <a:gd name="T53" fmla="*/ 902 h 3524"/>
              <a:gd name="T54" fmla="*/ 998 w 3499"/>
              <a:gd name="T55" fmla="*/ 571 h 3524"/>
              <a:gd name="T56" fmla="*/ 1416 w 3499"/>
              <a:gd name="T57" fmla="*/ 397 h 3524"/>
              <a:gd name="T58" fmla="*/ 1997 w 3499"/>
              <a:gd name="T59" fmla="*/ 363 h 3524"/>
              <a:gd name="T60" fmla="*/ 2358 w 3499"/>
              <a:gd name="T61" fmla="*/ 498 h 3524"/>
              <a:gd name="T62" fmla="*/ 2553 w 3499"/>
              <a:gd name="T63" fmla="*/ 657 h 3524"/>
              <a:gd name="T64" fmla="*/ 2622 w 3499"/>
              <a:gd name="T65" fmla="*/ 741 h 3524"/>
              <a:gd name="T66" fmla="*/ 2757 w 3499"/>
              <a:gd name="T67" fmla="*/ 938 h 3524"/>
              <a:gd name="T68" fmla="*/ 2818 w 3499"/>
              <a:gd name="T69" fmla="*/ 799 h 3524"/>
              <a:gd name="T70" fmla="*/ 2414 w 3499"/>
              <a:gd name="T71" fmla="*/ 362 h 3524"/>
              <a:gd name="T72" fmla="*/ 1841 w 3499"/>
              <a:gd name="T73" fmla="*/ 168 h 3524"/>
              <a:gd name="T74" fmla="*/ 2117 w 3499"/>
              <a:gd name="T75" fmla="*/ 50 h 3524"/>
              <a:gd name="T76" fmla="*/ 2661 w 3499"/>
              <a:gd name="T77" fmla="*/ 346 h 3524"/>
              <a:gd name="T78" fmla="*/ 3022 w 3499"/>
              <a:gd name="T79" fmla="*/ 847 h 3524"/>
              <a:gd name="T80" fmla="*/ 3131 w 3499"/>
              <a:gd name="T81" fmla="*/ 1436 h 3524"/>
              <a:gd name="T82" fmla="*/ 3406 w 3499"/>
              <a:gd name="T83" fmla="*/ 1530 h 3524"/>
              <a:gd name="T84" fmla="*/ 3499 w 3499"/>
              <a:gd name="T85" fmla="*/ 2220 h 3524"/>
              <a:gd name="T86" fmla="*/ 3376 w 3499"/>
              <a:gd name="T87" fmla="*/ 2473 h 3524"/>
              <a:gd name="T88" fmla="*/ 3051 w 3499"/>
              <a:gd name="T89" fmla="*/ 2606 h 3524"/>
              <a:gd name="T90" fmla="*/ 2791 w 3499"/>
              <a:gd name="T91" fmla="*/ 2997 h 3524"/>
              <a:gd name="T92" fmla="*/ 2400 w 3499"/>
              <a:gd name="T93" fmla="*/ 3292 h 3524"/>
              <a:gd name="T94" fmla="*/ 2054 w 3499"/>
              <a:gd name="T95" fmla="*/ 3500 h 3524"/>
              <a:gd name="T96" fmla="*/ 1656 w 3499"/>
              <a:gd name="T97" fmla="*/ 3480 h 3524"/>
              <a:gd name="T98" fmla="*/ 1299 w 3499"/>
              <a:gd name="T99" fmla="*/ 3231 h 3524"/>
              <a:gd name="T100" fmla="*/ 1199 w 3499"/>
              <a:gd name="T101" fmla="*/ 3177 h 3524"/>
              <a:gd name="T102" fmla="*/ 1117 w 3499"/>
              <a:gd name="T103" fmla="*/ 3210 h 3524"/>
              <a:gd name="T104" fmla="*/ 1021 w 3499"/>
              <a:gd name="T105" fmla="*/ 3118 h 3524"/>
              <a:gd name="T106" fmla="*/ 809 w 3499"/>
              <a:gd name="T107" fmla="*/ 2871 h 3524"/>
              <a:gd name="T108" fmla="*/ 570 w 3499"/>
              <a:gd name="T109" fmla="*/ 2489 h 3524"/>
              <a:gd name="T110" fmla="*/ 275 w 3499"/>
              <a:gd name="T111" fmla="*/ 2535 h 3524"/>
              <a:gd name="T112" fmla="*/ 43 w 3499"/>
              <a:gd name="T113" fmla="*/ 2381 h 3524"/>
              <a:gd name="T114" fmla="*/ 12 w 3499"/>
              <a:gd name="T115" fmla="*/ 1670 h 3524"/>
              <a:gd name="T116" fmla="*/ 194 w 3499"/>
              <a:gd name="T117" fmla="*/ 1461 h 3524"/>
              <a:gd name="T118" fmla="*/ 380 w 3499"/>
              <a:gd name="T119" fmla="*/ 1197 h 3524"/>
              <a:gd name="T120" fmla="*/ 604 w 3499"/>
              <a:gd name="T121" fmla="*/ 612 h 3524"/>
              <a:gd name="T122" fmla="*/ 1053 w 3499"/>
              <a:gd name="T123" fmla="*/ 189 h 3524"/>
              <a:gd name="T124" fmla="*/ 1655 w 3499"/>
              <a:gd name="T125" fmla="*/ 4 h 3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99" h="3524">
                <a:moveTo>
                  <a:pt x="2922" y="2276"/>
                </a:moveTo>
                <a:lnTo>
                  <a:pt x="2906" y="2362"/>
                </a:lnTo>
                <a:lnTo>
                  <a:pt x="2885" y="2449"/>
                </a:lnTo>
                <a:lnTo>
                  <a:pt x="2863" y="2536"/>
                </a:lnTo>
                <a:lnTo>
                  <a:pt x="2836" y="2622"/>
                </a:lnTo>
                <a:lnTo>
                  <a:pt x="2806" y="2706"/>
                </a:lnTo>
                <a:lnTo>
                  <a:pt x="2770" y="2789"/>
                </a:lnTo>
                <a:lnTo>
                  <a:pt x="2805" y="2745"/>
                </a:lnTo>
                <a:lnTo>
                  <a:pt x="2834" y="2699"/>
                </a:lnTo>
                <a:lnTo>
                  <a:pt x="2861" y="2650"/>
                </a:lnTo>
                <a:lnTo>
                  <a:pt x="2882" y="2599"/>
                </a:lnTo>
                <a:lnTo>
                  <a:pt x="2899" y="2545"/>
                </a:lnTo>
                <a:lnTo>
                  <a:pt x="2912" y="2490"/>
                </a:lnTo>
                <a:lnTo>
                  <a:pt x="2920" y="2433"/>
                </a:lnTo>
                <a:lnTo>
                  <a:pt x="2922" y="2373"/>
                </a:lnTo>
                <a:lnTo>
                  <a:pt x="2922" y="2276"/>
                </a:lnTo>
                <a:close/>
                <a:moveTo>
                  <a:pt x="2613" y="1637"/>
                </a:moveTo>
                <a:lnTo>
                  <a:pt x="2577" y="1674"/>
                </a:lnTo>
                <a:lnTo>
                  <a:pt x="2538" y="1710"/>
                </a:lnTo>
                <a:lnTo>
                  <a:pt x="2495" y="1741"/>
                </a:lnTo>
                <a:lnTo>
                  <a:pt x="2450" y="1771"/>
                </a:lnTo>
                <a:lnTo>
                  <a:pt x="2403" y="1796"/>
                </a:lnTo>
                <a:lnTo>
                  <a:pt x="2352" y="1820"/>
                </a:lnTo>
                <a:lnTo>
                  <a:pt x="2299" y="1842"/>
                </a:lnTo>
                <a:lnTo>
                  <a:pt x="2244" y="1861"/>
                </a:lnTo>
                <a:lnTo>
                  <a:pt x="2188" y="1880"/>
                </a:lnTo>
                <a:lnTo>
                  <a:pt x="2131" y="1897"/>
                </a:lnTo>
                <a:lnTo>
                  <a:pt x="2073" y="1912"/>
                </a:lnTo>
                <a:lnTo>
                  <a:pt x="2013" y="1927"/>
                </a:lnTo>
                <a:lnTo>
                  <a:pt x="1954" y="1941"/>
                </a:lnTo>
                <a:lnTo>
                  <a:pt x="1895" y="1955"/>
                </a:lnTo>
                <a:lnTo>
                  <a:pt x="1835" y="1969"/>
                </a:lnTo>
                <a:lnTo>
                  <a:pt x="1774" y="1983"/>
                </a:lnTo>
                <a:lnTo>
                  <a:pt x="1715" y="1998"/>
                </a:lnTo>
                <a:lnTo>
                  <a:pt x="1656" y="2015"/>
                </a:lnTo>
                <a:lnTo>
                  <a:pt x="1598" y="2032"/>
                </a:lnTo>
                <a:lnTo>
                  <a:pt x="1542" y="2050"/>
                </a:lnTo>
                <a:lnTo>
                  <a:pt x="1490" y="2071"/>
                </a:lnTo>
                <a:lnTo>
                  <a:pt x="1439" y="2092"/>
                </a:lnTo>
                <a:lnTo>
                  <a:pt x="1393" y="2117"/>
                </a:lnTo>
                <a:lnTo>
                  <a:pt x="1348" y="2144"/>
                </a:lnTo>
                <a:lnTo>
                  <a:pt x="1310" y="2173"/>
                </a:lnTo>
                <a:lnTo>
                  <a:pt x="1276" y="2205"/>
                </a:lnTo>
                <a:lnTo>
                  <a:pt x="1248" y="2239"/>
                </a:lnTo>
                <a:lnTo>
                  <a:pt x="1222" y="2276"/>
                </a:lnTo>
                <a:lnTo>
                  <a:pt x="1201" y="2316"/>
                </a:lnTo>
                <a:lnTo>
                  <a:pt x="1183" y="2358"/>
                </a:lnTo>
                <a:lnTo>
                  <a:pt x="1168" y="2402"/>
                </a:lnTo>
                <a:lnTo>
                  <a:pt x="1157" y="2448"/>
                </a:lnTo>
                <a:lnTo>
                  <a:pt x="1147" y="2494"/>
                </a:lnTo>
                <a:lnTo>
                  <a:pt x="1140" y="2541"/>
                </a:lnTo>
                <a:lnTo>
                  <a:pt x="1136" y="2589"/>
                </a:lnTo>
                <a:lnTo>
                  <a:pt x="1134" y="2637"/>
                </a:lnTo>
                <a:lnTo>
                  <a:pt x="1133" y="2684"/>
                </a:lnTo>
                <a:lnTo>
                  <a:pt x="1134" y="2732"/>
                </a:lnTo>
                <a:lnTo>
                  <a:pt x="1137" y="2777"/>
                </a:lnTo>
                <a:lnTo>
                  <a:pt x="1140" y="2822"/>
                </a:lnTo>
                <a:lnTo>
                  <a:pt x="1150" y="2840"/>
                </a:lnTo>
                <a:lnTo>
                  <a:pt x="1191" y="2909"/>
                </a:lnTo>
                <a:lnTo>
                  <a:pt x="1233" y="2973"/>
                </a:lnTo>
                <a:lnTo>
                  <a:pt x="1276" y="3031"/>
                </a:lnTo>
                <a:lnTo>
                  <a:pt x="1320" y="3085"/>
                </a:lnTo>
                <a:lnTo>
                  <a:pt x="1366" y="3134"/>
                </a:lnTo>
                <a:lnTo>
                  <a:pt x="1410" y="3177"/>
                </a:lnTo>
                <a:lnTo>
                  <a:pt x="1454" y="3216"/>
                </a:lnTo>
                <a:lnTo>
                  <a:pt x="1497" y="3251"/>
                </a:lnTo>
                <a:lnTo>
                  <a:pt x="1539" y="3281"/>
                </a:lnTo>
                <a:lnTo>
                  <a:pt x="1580" y="3310"/>
                </a:lnTo>
                <a:lnTo>
                  <a:pt x="1619" y="3332"/>
                </a:lnTo>
                <a:lnTo>
                  <a:pt x="1656" y="3353"/>
                </a:lnTo>
                <a:lnTo>
                  <a:pt x="1699" y="3372"/>
                </a:lnTo>
                <a:lnTo>
                  <a:pt x="1743" y="3388"/>
                </a:lnTo>
                <a:lnTo>
                  <a:pt x="1789" y="3399"/>
                </a:lnTo>
                <a:lnTo>
                  <a:pt x="1836" y="3406"/>
                </a:lnTo>
                <a:lnTo>
                  <a:pt x="1883" y="3409"/>
                </a:lnTo>
                <a:lnTo>
                  <a:pt x="1929" y="3406"/>
                </a:lnTo>
                <a:lnTo>
                  <a:pt x="1976" y="3399"/>
                </a:lnTo>
                <a:lnTo>
                  <a:pt x="2022" y="3388"/>
                </a:lnTo>
                <a:lnTo>
                  <a:pt x="2066" y="3372"/>
                </a:lnTo>
                <a:lnTo>
                  <a:pt x="2109" y="3353"/>
                </a:lnTo>
                <a:lnTo>
                  <a:pt x="2154" y="3328"/>
                </a:lnTo>
                <a:lnTo>
                  <a:pt x="2200" y="3299"/>
                </a:lnTo>
                <a:lnTo>
                  <a:pt x="2250" y="3264"/>
                </a:lnTo>
                <a:lnTo>
                  <a:pt x="2301" y="3224"/>
                </a:lnTo>
                <a:lnTo>
                  <a:pt x="2354" y="3178"/>
                </a:lnTo>
                <a:lnTo>
                  <a:pt x="2280" y="3181"/>
                </a:lnTo>
                <a:lnTo>
                  <a:pt x="2196" y="3181"/>
                </a:lnTo>
                <a:lnTo>
                  <a:pt x="2181" y="3213"/>
                </a:lnTo>
                <a:lnTo>
                  <a:pt x="2161" y="3243"/>
                </a:lnTo>
                <a:lnTo>
                  <a:pt x="2137" y="3269"/>
                </a:lnTo>
                <a:lnTo>
                  <a:pt x="2110" y="3291"/>
                </a:lnTo>
                <a:lnTo>
                  <a:pt x="2080" y="3310"/>
                </a:lnTo>
                <a:lnTo>
                  <a:pt x="2048" y="3323"/>
                </a:lnTo>
                <a:lnTo>
                  <a:pt x="2012" y="3331"/>
                </a:lnTo>
                <a:lnTo>
                  <a:pt x="1976" y="3334"/>
                </a:lnTo>
                <a:lnTo>
                  <a:pt x="1753" y="3334"/>
                </a:lnTo>
                <a:lnTo>
                  <a:pt x="1714" y="3331"/>
                </a:lnTo>
                <a:lnTo>
                  <a:pt x="1678" y="3323"/>
                </a:lnTo>
                <a:lnTo>
                  <a:pt x="1645" y="3308"/>
                </a:lnTo>
                <a:lnTo>
                  <a:pt x="1614" y="3289"/>
                </a:lnTo>
                <a:lnTo>
                  <a:pt x="1587" y="3265"/>
                </a:lnTo>
                <a:lnTo>
                  <a:pt x="1563" y="3238"/>
                </a:lnTo>
                <a:lnTo>
                  <a:pt x="1544" y="3207"/>
                </a:lnTo>
                <a:lnTo>
                  <a:pt x="1529" y="3173"/>
                </a:lnTo>
                <a:lnTo>
                  <a:pt x="1521" y="3137"/>
                </a:lnTo>
                <a:lnTo>
                  <a:pt x="1518" y="3099"/>
                </a:lnTo>
                <a:lnTo>
                  <a:pt x="1521" y="3061"/>
                </a:lnTo>
                <a:lnTo>
                  <a:pt x="1529" y="3024"/>
                </a:lnTo>
                <a:lnTo>
                  <a:pt x="1544" y="2991"/>
                </a:lnTo>
                <a:lnTo>
                  <a:pt x="1563" y="2961"/>
                </a:lnTo>
                <a:lnTo>
                  <a:pt x="1587" y="2933"/>
                </a:lnTo>
                <a:lnTo>
                  <a:pt x="1614" y="2909"/>
                </a:lnTo>
                <a:lnTo>
                  <a:pt x="1645" y="2891"/>
                </a:lnTo>
                <a:lnTo>
                  <a:pt x="1678" y="2876"/>
                </a:lnTo>
                <a:lnTo>
                  <a:pt x="1714" y="2867"/>
                </a:lnTo>
                <a:lnTo>
                  <a:pt x="1753" y="2864"/>
                </a:lnTo>
                <a:lnTo>
                  <a:pt x="1976" y="2864"/>
                </a:lnTo>
                <a:lnTo>
                  <a:pt x="2012" y="2867"/>
                </a:lnTo>
                <a:lnTo>
                  <a:pt x="2048" y="2875"/>
                </a:lnTo>
                <a:lnTo>
                  <a:pt x="2080" y="2888"/>
                </a:lnTo>
                <a:lnTo>
                  <a:pt x="2110" y="2907"/>
                </a:lnTo>
                <a:lnTo>
                  <a:pt x="2137" y="2929"/>
                </a:lnTo>
                <a:lnTo>
                  <a:pt x="2161" y="2955"/>
                </a:lnTo>
                <a:lnTo>
                  <a:pt x="2181" y="2984"/>
                </a:lnTo>
                <a:lnTo>
                  <a:pt x="2196" y="3017"/>
                </a:lnTo>
                <a:lnTo>
                  <a:pt x="2280" y="3017"/>
                </a:lnTo>
                <a:lnTo>
                  <a:pt x="2335" y="3015"/>
                </a:lnTo>
                <a:lnTo>
                  <a:pt x="2389" y="3008"/>
                </a:lnTo>
                <a:lnTo>
                  <a:pt x="2440" y="2997"/>
                </a:lnTo>
                <a:lnTo>
                  <a:pt x="2490" y="2981"/>
                </a:lnTo>
                <a:lnTo>
                  <a:pt x="2538" y="2963"/>
                </a:lnTo>
                <a:lnTo>
                  <a:pt x="2577" y="2903"/>
                </a:lnTo>
                <a:lnTo>
                  <a:pt x="2615" y="2840"/>
                </a:lnTo>
                <a:lnTo>
                  <a:pt x="2655" y="2764"/>
                </a:lnTo>
                <a:lnTo>
                  <a:pt x="2689" y="2685"/>
                </a:lnTo>
                <a:lnTo>
                  <a:pt x="2719" y="2604"/>
                </a:lnTo>
                <a:lnTo>
                  <a:pt x="2746" y="2521"/>
                </a:lnTo>
                <a:lnTo>
                  <a:pt x="2769" y="2436"/>
                </a:lnTo>
                <a:lnTo>
                  <a:pt x="2788" y="2352"/>
                </a:lnTo>
                <a:lnTo>
                  <a:pt x="2786" y="2353"/>
                </a:lnTo>
                <a:lnTo>
                  <a:pt x="2785" y="2354"/>
                </a:lnTo>
                <a:lnTo>
                  <a:pt x="2771" y="2359"/>
                </a:lnTo>
                <a:lnTo>
                  <a:pt x="2757" y="2360"/>
                </a:lnTo>
                <a:lnTo>
                  <a:pt x="2744" y="2359"/>
                </a:lnTo>
                <a:lnTo>
                  <a:pt x="2731" y="2354"/>
                </a:lnTo>
                <a:lnTo>
                  <a:pt x="2719" y="2346"/>
                </a:lnTo>
                <a:lnTo>
                  <a:pt x="2709" y="2333"/>
                </a:lnTo>
                <a:lnTo>
                  <a:pt x="2702" y="2317"/>
                </a:lnTo>
                <a:lnTo>
                  <a:pt x="2700" y="2301"/>
                </a:lnTo>
                <a:lnTo>
                  <a:pt x="2703" y="2284"/>
                </a:lnTo>
                <a:lnTo>
                  <a:pt x="2704" y="2280"/>
                </a:lnTo>
                <a:lnTo>
                  <a:pt x="2707" y="2272"/>
                </a:lnTo>
                <a:lnTo>
                  <a:pt x="2711" y="2258"/>
                </a:lnTo>
                <a:lnTo>
                  <a:pt x="2715" y="2239"/>
                </a:lnTo>
                <a:lnTo>
                  <a:pt x="2721" y="2217"/>
                </a:lnTo>
                <a:lnTo>
                  <a:pt x="2726" y="2190"/>
                </a:lnTo>
                <a:lnTo>
                  <a:pt x="2730" y="2158"/>
                </a:lnTo>
                <a:lnTo>
                  <a:pt x="2735" y="2125"/>
                </a:lnTo>
                <a:lnTo>
                  <a:pt x="2739" y="2087"/>
                </a:lnTo>
                <a:lnTo>
                  <a:pt x="2741" y="2047"/>
                </a:lnTo>
                <a:lnTo>
                  <a:pt x="2741" y="2005"/>
                </a:lnTo>
                <a:lnTo>
                  <a:pt x="2740" y="1960"/>
                </a:lnTo>
                <a:lnTo>
                  <a:pt x="2736" y="1913"/>
                </a:lnTo>
                <a:lnTo>
                  <a:pt x="2729" y="1865"/>
                </a:lnTo>
                <a:lnTo>
                  <a:pt x="2719" y="1815"/>
                </a:lnTo>
                <a:lnTo>
                  <a:pt x="2710" y="1779"/>
                </a:lnTo>
                <a:lnTo>
                  <a:pt x="2696" y="1747"/>
                </a:lnTo>
                <a:lnTo>
                  <a:pt x="2678" y="1715"/>
                </a:lnTo>
                <a:lnTo>
                  <a:pt x="2659" y="1687"/>
                </a:lnTo>
                <a:lnTo>
                  <a:pt x="2636" y="1660"/>
                </a:lnTo>
                <a:lnTo>
                  <a:pt x="2613" y="1637"/>
                </a:lnTo>
                <a:close/>
                <a:moveTo>
                  <a:pt x="1749" y="165"/>
                </a:moveTo>
                <a:lnTo>
                  <a:pt x="1662" y="168"/>
                </a:lnTo>
                <a:lnTo>
                  <a:pt x="1576" y="176"/>
                </a:lnTo>
                <a:lnTo>
                  <a:pt x="1492" y="192"/>
                </a:lnTo>
                <a:lnTo>
                  <a:pt x="1410" y="212"/>
                </a:lnTo>
                <a:lnTo>
                  <a:pt x="1330" y="239"/>
                </a:lnTo>
                <a:lnTo>
                  <a:pt x="1254" y="270"/>
                </a:lnTo>
                <a:lnTo>
                  <a:pt x="1179" y="307"/>
                </a:lnTo>
                <a:lnTo>
                  <a:pt x="1107" y="348"/>
                </a:lnTo>
                <a:lnTo>
                  <a:pt x="1039" y="395"/>
                </a:lnTo>
                <a:lnTo>
                  <a:pt x="974" y="444"/>
                </a:lnTo>
                <a:lnTo>
                  <a:pt x="913" y="499"/>
                </a:lnTo>
                <a:lnTo>
                  <a:pt x="855" y="558"/>
                </a:lnTo>
                <a:lnTo>
                  <a:pt x="801" y="619"/>
                </a:lnTo>
                <a:lnTo>
                  <a:pt x="752" y="685"/>
                </a:lnTo>
                <a:lnTo>
                  <a:pt x="707" y="754"/>
                </a:lnTo>
                <a:lnTo>
                  <a:pt x="666" y="827"/>
                </a:lnTo>
                <a:lnTo>
                  <a:pt x="631" y="902"/>
                </a:lnTo>
                <a:lnTo>
                  <a:pt x="680" y="840"/>
                </a:lnTo>
                <a:lnTo>
                  <a:pt x="732" y="783"/>
                </a:lnTo>
                <a:lnTo>
                  <a:pt x="785" y="732"/>
                </a:lnTo>
                <a:lnTo>
                  <a:pt x="839" y="684"/>
                </a:lnTo>
                <a:lnTo>
                  <a:pt x="892" y="642"/>
                </a:lnTo>
                <a:lnTo>
                  <a:pt x="945" y="604"/>
                </a:lnTo>
                <a:lnTo>
                  <a:pt x="998" y="571"/>
                </a:lnTo>
                <a:lnTo>
                  <a:pt x="1049" y="542"/>
                </a:lnTo>
                <a:lnTo>
                  <a:pt x="1096" y="516"/>
                </a:lnTo>
                <a:lnTo>
                  <a:pt x="1141" y="494"/>
                </a:lnTo>
                <a:lnTo>
                  <a:pt x="1183" y="476"/>
                </a:lnTo>
                <a:lnTo>
                  <a:pt x="1221" y="461"/>
                </a:lnTo>
                <a:lnTo>
                  <a:pt x="1319" y="425"/>
                </a:lnTo>
                <a:lnTo>
                  <a:pt x="1416" y="397"/>
                </a:lnTo>
                <a:lnTo>
                  <a:pt x="1512" y="374"/>
                </a:lnTo>
                <a:lnTo>
                  <a:pt x="1607" y="358"/>
                </a:lnTo>
                <a:lnTo>
                  <a:pt x="1699" y="348"/>
                </a:lnTo>
                <a:lnTo>
                  <a:pt x="1789" y="345"/>
                </a:lnTo>
                <a:lnTo>
                  <a:pt x="1863" y="347"/>
                </a:lnTo>
                <a:lnTo>
                  <a:pt x="1932" y="354"/>
                </a:lnTo>
                <a:lnTo>
                  <a:pt x="1997" y="363"/>
                </a:lnTo>
                <a:lnTo>
                  <a:pt x="2059" y="376"/>
                </a:lnTo>
                <a:lnTo>
                  <a:pt x="2118" y="391"/>
                </a:lnTo>
                <a:lnTo>
                  <a:pt x="2173" y="410"/>
                </a:lnTo>
                <a:lnTo>
                  <a:pt x="2224" y="430"/>
                </a:lnTo>
                <a:lnTo>
                  <a:pt x="2272" y="452"/>
                </a:lnTo>
                <a:lnTo>
                  <a:pt x="2316" y="475"/>
                </a:lnTo>
                <a:lnTo>
                  <a:pt x="2358" y="498"/>
                </a:lnTo>
                <a:lnTo>
                  <a:pt x="2396" y="523"/>
                </a:lnTo>
                <a:lnTo>
                  <a:pt x="2431" y="548"/>
                </a:lnTo>
                <a:lnTo>
                  <a:pt x="2462" y="572"/>
                </a:lnTo>
                <a:lnTo>
                  <a:pt x="2490" y="596"/>
                </a:lnTo>
                <a:lnTo>
                  <a:pt x="2514" y="617"/>
                </a:lnTo>
                <a:lnTo>
                  <a:pt x="2535" y="638"/>
                </a:lnTo>
                <a:lnTo>
                  <a:pt x="2553" y="657"/>
                </a:lnTo>
                <a:lnTo>
                  <a:pt x="2569" y="673"/>
                </a:lnTo>
                <a:lnTo>
                  <a:pt x="2580" y="687"/>
                </a:lnTo>
                <a:lnTo>
                  <a:pt x="2589" y="698"/>
                </a:lnTo>
                <a:lnTo>
                  <a:pt x="2594" y="705"/>
                </a:lnTo>
                <a:lnTo>
                  <a:pt x="2601" y="712"/>
                </a:lnTo>
                <a:lnTo>
                  <a:pt x="2611" y="725"/>
                </a:lnTo>
                <a:lnTo>
                  <a:pt x="2622" y="741"/>
                </a:lnTo>
                <a:lnTo>
                  <a:pt x="2638" y="763"/>
                </a:lnTo>
                <a:lnTo>
                  <a:pt x="2653" y="788"/>
                </a:lnTo>
                <a:lnTo>
                  <a:pt x="2670" y="817"/>
                </a:lnTo>
                <a:lnTo>
                  <a:pt x="2686" y="849"/>
                </a:lnTo>
                <a:lnTo>
                  <a:pt x="2703" y="886"/>
                </a:lnTo>
                <a:lnTo>
                  <a:pt x="2718" y="927"/>
                </a:lnTo>
                <a:lnTo>
                  <a:pt x="2757" y="938"/>
                </a:lnTo>
                <a:lnTo>
                  <a:pt x="2797" y="954"/>
                </a:lnTo>
                <a:lnTo>
                  <a:pt x="2837" y="976"/>
                </a:lnTo>
                <a:lnTo>
                  <a:pt x="2878" y="1004"/>
                </a:lnTo>
                <a:lnTo>
                  <a:pt x="2918" y="1038"/>
                </a:lnTo>
                <a:lnTo>
                  <a:pt x="2890" y="956"/>
                </a:lnTo>
                <a:lnTo>
                  <a:pt x="2856" y="875"/>
                </a:lnTo>
                <a:lnTo>
                  <a:pt x="2818" y="799"/>
                </a:lnTo>
                <a:lnTo>
                  <a:pt x="2773" y="725"/>
                </a:lnTo>
                <a:lnTo>
                  <a:pt x="2725" y="654"/>
                </a:lnTo>
                <a:lnTo>
                  <a:pt x="2671" y="588"/>
                </a:lnTo>
                <a:lnTo>
                  <a:pt x="2613" y="525"/>
                </a:lnTo>
                <a:lnTo>
                  <a:pt x="2550" y="466"/>
                </a:lnTo>
                <a:lnTo>
                  <a:pt x="2484" y="412"/>
                </a:lnTo>
                <a:lnTo>
                  <a:pt x="2414" y="362"/>
                </a:lnTo>
                <a:lnTo>
                  <a:pt x="2341" y="318"/>
                </a:lnTo>
                <a:lnTo>
                  <a:pt x="2265" y="279"/>
                </a:lnTo>
                <a:lnTo>
                  <a:pt x="2185" y="245"/>
                </a:lnTo>
                <a:lnTo>
                  <a:pt x="2102" y="216"/>
                </a:lnTo>
                <a:lnTo>
                  <a:pt x="2018" y="194"/>
                </a:lnTo>
                <a:lnTo>
                  <a:pt x="1930" y="178"/>
                </a:lnTo>
                <a:lnTo>
                  <a:pt x="1841" y="168"/>
                </a:lnTo>
                <a:lnTo>
                  <a:pt x="1749" y="165"/>
                </a:lnTo>
                <a:close/>
                <a:moveTo>
                  <a:pt x="1749" y="0"/>
                </a:moveTo>
                <a:lnTo>
                  <a:pt x="1749" y="0"/>
                </a:lnTo>
                <a:lnTo>
                  <a:pt x="1844" y="4"/>
                </a:lnTo>
                <a:lnTo>
                  <a:pt x="1937" y="13"/>
                </a:lnTo>
                <a:lnTo>
                  <a:pt x="2027" y="29"/>
                </a:lnTo>
                <a:lnTo>
                  <a:pt x="2117" y="50"/>
                </a:lnTo>
                <a:lnTo>
                  <a:pt x="2203" y="77"/>
                </a:lnTo>
                <a:lnTo>
                  <a:pt x="2287" y="110"/>
                </a:lnTo>
                <a:lnTo>
                  <a:pt x="2368" y="147"/>
                </a:lnTo>
                <a:lnTo>
                  <a:pt x="2447" y="189"/>
                </a:lnTo>
                <a:lnTo>
                  <a:pt x="2522" y="237"/>
                </a:lnTo>
                <a:lnTo>
                  <a:pt x="2593" y="290"/>
                </a:lnTo>
                <a:lnTo>
                  <a:pt x="2661" y="346"/>
                </a:lnTo>
                <a:lnTo>
                  <a:pt x="2726" y="407"/>
                </a:lnTo>
                <a:lnTo>
                  <a:pt x="2787" y="471"/>
                </a:lnTo>
                <a:lnTo>
                  <a:pt x="2843" y="539"/>
                </a:lnTo>
                <a:lnTo>
                  <a:pt x="2895" y="612"/>
                </a:lnTo>
                <a:lnTo>
                  <a:pt x="2943" y="687"/>
                </a:lnTo>
                <a:lnTo>
                  <a:pt x="2986" y="765"/>
                </a:lnTo>
                <a:lnTo>
                  <a:pt x="3022" y="847"/>
                </a:lnTo>
                <a:lnTo>
                  <a:pt x="3055" y="931"/>
                </a:lnTo>
                <a:lnTo>
                  <a:pt x="3082" y="1018"/>
                </a:lnTo>
                <a:lnTo>
                  <a:pt x="3103" y="1106"/>
                </a:lnTo>
                <a:lnTo>
                  <a:pt x="3119" y="1197"/>
                </a:lnTo>
                <a:lnTo>
                  <a:pt x="3128" y="1291"/>
                </a:lnTo>
                <a:lnTo>
                  <a:pt x="3131" y="1385"/>
                </a:lnTo>
                <a:lnTo>
                  <a:pt x="3131" y="1436"/>
                </a:lnTo>
                <a:lnTo>
                  <a:pt x="3182" y="1436"/>
                </a:lnTo>
                <a:lnTo>
                  <a:pt x="3224" y="1439"/>
                </a:lnTo>
                <a:lnTo>
                  <a:pt x="3266" y="1448"/>
                </a:lnTo>
                <a:lnTo>
                  <a:pt x="3305" y="1461"/>
                </a:lnTo>
                <a:lnTo>
                  <a:pt x="3341" y="1480"/>
                </a:lnTo>
                <a:lnTo>
                  <a:pt x="3376" y="1503"/>
                </a:lnTo>
                <a:lnTo>
                  <a:pt x="3406" y="1530"/>
                </a:lnTo>
                <a:lnTo>
                  <a:pt x="3433" y="1560"/>
                </a:lnTo>
                <a:lnTo>
                  <a:pt x="3456" y="1593"/>
                </a:lnTo>
                <a:lnTo>
                  <a:pt x="3474" y="1630"/>
                </a:lnTo>
                <a:lnTo>
                  <a:pt x="3488" y="1670"/>
                </a:lnTo>
                <a:lnTo>
                  <a:pt x="3497" y="1711"/>
                </a:lnTo>
                <a:lnTo>
                  <a:pt x="3499" y="1754"/>
                </a:lnTo>
                <a:lnTo>
                  <a:pt x="3499" y="2220"/>
                </a:lnTo>
                <a:lnTo>
                  <a:pt x="3497" y="2263"/>
                </a:lnTo>
                <a:lnTo>
                  <a:pt x="3488" y="2305"/>
                </a:lnTo>
                <a:lnTo>
                  <a:pt x="3474" y="2344"/>
                </a:lnTo>
                <a:lnTo>
                  <a:pt x="3456" y="2381"/>
                </a:lnTo>
                <a:lnTo>
                  <a:pt x="3433" y="2414"/>
                </a:lnTo>
                <a:lnTo>
                  <a:pt x="3406" y="2446"/>
                </a:lnTo>
                <a:lnTo>
                  <a:pt x="3376" y="2473"/>
                </a:lnTo>
                <a:lnTo>
                  <a:pt x="3341" y="2495"/>
                </a:lnTo>
                <a:lnTo>
                  <a:pt x="3305" y="2514"/>
                </a:lnTo>
                <a:lnTo>
                  <a:pt x="3266" y="2527"/>
                </a:lnTo>
                <a:lnTo>
                  <a:pt x="3224" y="2535"/>
                </a:lnTo>
                <a:lnTo>
                  <a:pt x="3182" y="2538"/>
                </a:lnTo>
                <a:lnTo>
                  <a:pt x="3069" y="2538"/>
                </a:lnTo>
                <a:lnTo>
                  <a:pt x="3051" y="2606"/>
                </a:lnTo>
                <a:lnTo>
                  <a:pt x="3029" y="2671"/>
                </a:lnTo>
                <a:lnTo>
                  <a:pt x="3001" y="2734"/>
                </a:lnTo>
                <a:lnTo>
                  <a:pt x="2968" y="2793"/>
                </a:lnTo>
                <a:lnTo>
                  <a:pt x="2930" y="2851"/>
                </a:lnTo>
                <a:lnTo>
                  <a:pt x="2888" y="2903"/>
                </a:lnTo>
                <a:lnTo>
                  <a:pt x="2841" y="2952"/>
                </a:lnTo>
                <a:lnTo>
                  <a:pt x="2791" y="2997"/>
                </a:lnTo>
                <a:lnTo>
                  <a:pt x="2737" y="3038"/>
                </a:lnTo>
                <a:lnTo>
                  <a:pt x="2680" y="3075"/>
                </a:lnTo>
                <a:lnTo>
                  <a:pt x="2619" y="3107"/>
                </a:lnTo>
                <a:lnTo>
                  <a:pt x="2556" y="3132"/>
                </a:lnTo>
                <a:lnTo>
                  <a:pt x="2504" y="3192"/>
                </a:lnTo>
                <a:lnTo>
                  <a:pt x="2452" y="3245"/>
                </a:lnTo>
                <a:lnTo>
                  <a:pt x="2400" y="3292"/>
                </a:lnTo>
                <a:lnTo>
                  <a:pt x="2349" y="3334"/>
                </a:lnTo>
                <a:lnTo>
                  <a:pt x="2299" y="3371"/>
                </a:lnTo>
                <a:lnTo>
                  <a:pt x="2252" y="3404"/>
                </a:lnTo>
                <a:lnTo>
                  <a:pt x="2205" y="3432"/>
                </a:lnTo>
                <a:lnTo>
                  <a:pt x="2162" y="3455"/>
                </a:lnTo>
                <a:lnTo>
                  <a:pt x="2109" y="3480"/>
                </a:lnTo>
                <a:lnTo>
                  <a:pt x="2054" y="3500"/>
                </a:lnTo>
                <a:lnTo>
                  <a:pt x="1998" y="3514"/>
                </a:lnTo>
                <a:lnTo>
                  <a:pt x="1941" y="3521"/>
                </a:lnTo>
                <a:lnTo>
                  <a:pt x="1883" y="3524"/>
                </a:lnTo>
                <a:lnTo>
                  <a:pt x="1824" y="3521"/>
                </a:lnTo>
                <a:lnTo>
                  <a:pt x="1767" y="3514"/>
                </a:lnTo>
                <a:lnTo>
                  <a:pt x="1711" y="3500"/>
                </a:lnTo>
                <a:lnTo>
                  <a:pt x="1656" y="3480"/>
                </a:lnTo>
                <a:lnTo>
                  <a:pt x="1603" y="3455"/>
                </a:lnTo>
                <a:lnTo>
                  <a:pt x="1558" y="3431"/>
                </a:lnTo>
                <a:lnTo>
                  <a:pt x="1509" y="3401"/>
                </a:lnTo>
                <a:lnTo>
                  <a:pt x="1458" y="3367"/>
                </a:lnTo>
                <a:lnTo>
                  <a:pt x="1407" y="3327"/>
                </a:lnTo>
                <a:lnTo>
                  <a:pt x="1353" y="3281"/>
                </a:lnTo>
                <a:lnTo>
                  <a:pt x="1299" y="3231"/>
                </a:lnTo>
                <a:lnTo>
                  <a:pt x="1244" y="3173"/>
                </a:lnTo>
                <a:lnTo>
                  <a:pt x="1190" y="3109"/>
                </a:lnTo>
                <a:lnTo>
                  <a:pt x="1194" y="3126"/>
                </a:lnTo>
                <a:lnTo>
                  <a:pt x="1198" y="3137"/>
                </a:lnTo>
                <a:lnTo>
                  <a:pt x="1201" y="3148"/>
                </a:lnTo>
                <a:lnTo>
                  <a:pt x="1202" y="3158"/>
                </a:lnTo>
                <a:lnTo>
                  <a:pt x="1199" y="3177"/>
                </a:lnTo>
                <a:lnTo>
                  <a:pt x="1191" y="3193"/>
                </a:lnTo>
                <a:lnTo>
                  <a:pt x="1178" y="3205"/>
                </a:lnTo>
                <a:lnTo>
                  <a:pt x="1162" y="3213"/>
                </a:lnTo>
                <a:lnTo>
                  <a:pt x="1144" y="3217"/>
                </a:lnTo>
                <a:lnTo>
                  <a:pt x="1144" y="3217"/>
                </a:lnTo>
                <a:lnTo>
                  <a:pt x="1130" y="3215"/>
                </a:lnTo>
                <a:lnTo>
                  <a:pt x="1117" y="3210"/>
                </a:lnTo>
                <a:lnTo>
                  <a:pt x="1105" y="3202"/>
                </a:lnTo>
                <a:lnTo>
                  <a:pt x="1101" y="3197"/>
                </a:lnTo>
                <a:lnTo>
                  <a:pt x="1091" y="3189"/>
                </a:lnTo>
                <a:lnTo>
                  <a:pt x="1078" y="3177"/>
                </a:lnTo>
                <a:lnTo>
                  <a:pt x="1062" y="3161"/>
                </a:lnTo>
                <a:lnTo>
                  <a:pt x="1042" y="3141"/>
                </a:lnTo>
                <a:lnTo>
                  <a:pt x="1021" y="3118"/>
                </a:lnTo>
                <a:lnTo>
                  <a:pt x="996" y="3092"/>
                </a:lnTo>
                <a:lnTo>
                  <a:pt x="968" y="3063"/>
                </a:lnTo>
                <a:lnTo>
                  <a:pt x="940" y="3031"/>
                </a:lnTo>
                <a:lnTo>
                  <a:pt x="909" y="2995"/>
                </a:lnTo>
                <a:lnTo>
                  <a:pt x="876" y="2956"/>
                </a:lnTo>
                <a:lnTo>
                  <a:pt x="843" y="2915"/>
                </a:lnTo>
                <a:lnTo>
                  <a:pt x="809" y="2871"/>
                </a:lnTo>
                <a:lnTo>
                  <a:pt x="774" y="2824"/>
                </a:lnTo>
                <a:lnTo>
                  <a:pt x="739" y="2774"/>
                </a:lnTo>
                <a:lnTo>
                  <a:pt x="704" y="2722"/>
                </a:lnTo>
                <a:lnTo>
                  <a:pt x="669" y="2667"/>
                </a:lnTo>
                <a:lnTo>
                  <a:pt x="635" y="2610"/>
                </a:lnTo>
                <a:lnTo>
                  <a:pt x="603" y="2550"/>
                </a:lnTo>
                <a:lnTo>
                  <a:pt x="570" y="2489"/>
                </a:lnTo>
                <a:lnTo>
                  <a:pt x="560" y="2505"/>
                </a:lnTo>
                <a:lnTo>
                  <a:pt x="548" y="2519"/>
                </a:lnTo>
                <a:lnTo>
                  <a:pt x="532" y="2530"/>
                </a:lnTo>
                <a:lnTo>
                  <a:pt x="514" y="2536"/>
                </a:lnTo>
                <a:lnTo>
                  <a:pt x="495" y="2538"/>
                </a:lnTo>
                <a:lnTo>
                  <a:pt x="318" y="2538"/>
                </a:lnTo>
                <a:lnTo>
                  <a:pt x="275" y="2535"/>
                </a:lnTo>
                <a:lnTo>
                  <a:pt x="233" y="2527"/>
                </a:lnTo>
                <a:lnTo>
                  <a:pt x="194" y="2514"/>
                </a:lnTo>
                <a:lnTo>
                  <a:pt x="157" y="2495"/>
                </a:lnTo>
                <a:lnTo>
                  <a:pt x="124" y="2473"/>
                </a:lnTo>
                <a:lnTo>
                  <a:pt x="93" y="2446"/>
                </a:lnTo>
                <a:lnTo>
                  <a:pt x="66" y="2414"/>
                </a:lnTo>
                <a:lnTo>
                  <a:pt x="43" y="2381"/>
                </a:lnTo>
                <a:lnTo>
                  <a:pt x="25" y="2344"/>
                </a:lnTo>
                <a:lnTo>
                  <a:pt x="12" y="2305"/>
                </a:lnTo>
                <a:lnTo>
                  <a:pt x="3" y="2263"/>
                </a:lnTo>
                <a:lnTo>
                  <a:pt x="0" y="2220"/>
                </a:lnTo>
                <a:lnTo>
                  <a:pt x="0" y="1754"/>
                </a:lnTo>
                <a:lnTo>
                  <a:pt x="3" y="1711"/>
                </a:lnTo>
                <a:lnTo>
                  <a:pt x="12" y="1670"/>
                </a:lnTo>
                <a:lnTo>
                  <a:pt x="25" y="1630"/>
                </a:lnTo>
                <a:lnTo>
                  <a:pt x="43" y="1593"/>
                </a:lnTo>
                <a:lnTo>
                  <a:pt x="66" y="1560"/>
                </a:lnTo>
                <a:lnTo>
                  <a:pt x="93" y="1530"/>
                </a:lnTo>
                <a:lnTo>
                  <a:pt x="124" y="1503"/>
                </a:lnTo>
                <a:lnTo>
                  <a:pt x="157" y="1480"/>
                </a:lnTo>
                <a:lnTo>
                  <a:pt x="194" y="1461"/>
                </a:lnTo>
                <a:lnTo>
                  <a:pt x="233" y="1448"/>
                </a:lnTo>
                <a:lnTo>
                  <a:pt x="275" y="1439"/>
                </a:lnTo>
                <a:lnTo>
                  <a:pt x="318" y="1436"/>
                </a:lnTo>
                <a:lnTo>
                  <a:pt x="368" y="1436"/>
                </a:lnTo>
                <a:lnTo>
                  <a:pt x="368" y="1385"/>
                </a:lnTo>
                <a:lnTo>
                  <a:pt x="371" y="1291"/>
                </a:lnTo>
                <a:lnTo>
                  <a:pt x="380" y="1197"/>
                </a:lnTo>
                <a:lnTo>
                  <a:pt x="396" y="1106"/>
                </a:lnTo>
                <a:lnTo>
                  <a:pt x="417" y="1018"/>
                </a:lnTo>
                <a:lnTo>
                  <a:pt x="444" y="931"/>
                </a:lnTo>
                <a:lnTo>
                  <a:pt x="476" y="847"/>
                </a:lnTo>
                <a:lnTo>
                  <a:pt x="514" y="765"/>
                </a:lnTo>
                <a:lnTo>
                  <a:pt x="556" y="687"/>
                </a:lnTo>
                <a:lnTo>
                  <a:pt x="604" y="612"/>
                </a:lnTo>
                <a:lnTo>
                  <a:pt x="655" y="539"/>
                </a:lnTo>
                <a:lnTo>
                  <a:pt x="712" y="471"/>
                </a:lnTo>
                <a:lnTo>
                  <a:pt x="773" y="407"/>
                </a:lnTo>
                <a:lnTo>
                  <a:pt x="838" y="346"/>
                </a:lnTo>
                <a:lnTo>
                  <a:pt x="905" y="290"/>
                </a:lnTo>
                <a:lnTo>
                  <a:pt x="978" y="237"/>
                </a:lnTo>
                <a:lnTo>
                  <a:pt x="1053" y="189"/>
                </a:lnTo>
                <a:lnTo>
                  <a:pt x="1131" y="147"/>
                </a:lnTo>
                <a:lnTo>
                  <a:pt x="1213" y="110"/>
                </a:lnTo>
                <a:lnTo>
                  <a:pt x="1296" y="77"/>
                </a:lnTo>
                <a:lnTo>
                  <a:pt x="1383" y="50"/>
                </a:lnTo>
                <a:lnTo>
                  <a:pt x="1471" y="29"/>
                </a:lnTo>
                <a:lnTo>
                  <a:pt x="1562" y="13"/>
                </a:lnTo>
                <a:lnTo>
                  <a:pt x="1655" y="4"/>
                </a:lnTo>
                <a:lnTo>
                  <a:pt x="1749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42" name="Group 1036">
            <a:extLst>
              <a:ext uri="{FF2B5EF4-FFF2-40B4-BE49-F238E27FC236}">
                <a16:creationId xmlns:a16="http://schemas.microsoft.com/office/drawing/2014/main" id="{5A1761F5-FA7A-369C-089B-70FC21350CD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47052" y="4009512"/>
            <a:ext cx="230301" cy="228901"/>
            <a:chOff x="9876" y="-1946"/>
            <a:chExt cx="822" cy="817"/>
          </a:xfrm>
          <a:solidFill>
            <a:schemeClr val="bg1"/>
          </a:solidFill>
        </p:grpSpPr>
        <p:sp>
          <p:nvSpPr>
            <p:cNvPr id="43" name="Freeform 1038">
              <a:extLst>
                <a:ext uri="{FF2B5EF4-FFF2-40B4-BE49-F238E27FC236}">
                  <a16:creationId xmlns:a16="http://schemas.microsoft.com/office/drawing/2014/main" id="{7A065202-EF54-A3DE-D9C6-2A61A83C5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6" y="-1801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5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6 h 298"/>
                <a:gd name="T24" fmla="*/ 1396 w 1421"/>
                <a:gd name="T25" fmla="*/ 232 h 298"/>
                <a:gd name="T26" fmla="*/ 1378 w 1421"/>
                <a:gd name="T27" fmla="*/ 254 h 298"/>
                <a:gd name="T28" fmla="*/ 1356 w 1421"/>
                <a:gd name="T29" fmla="*/ 272 h 298"/>
                <a:gd name="T30" fmla="*/ 1330 w 1421"/>
                <a:gd name="T31" fmla="*/ 285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5 h 298"/>
                <a:gd name="T42" fmla="*/ 65 w 1421"/>
                <a:gd name="T43" fmla="*/ 272 h 298"/>
                <a:gd name="T44" fmla="*/ 44 w 1421"/>
                <a:gd name="T45" fmla="*/ 254 h 298"/>
                <a:gd name="T46" fmla="*/ 25 w 1421"/>
                <a:gd name="T47" fmla="*/ 232 h 298"/>
                <a:gd name="T48" fmla="*/ 11 w 1421"/>
                <a:gd name="T49" fmla="*/ 206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5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5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6"/>
                  </a:lnTo>
                  <a:lnTo>
                    <a:pt x="1396" y="232"/>
                  </a:lnTo>
                  <a:lnTo>
                    <a:pt x="1378" y="254"/>
                  </a:lnTo>
                  <a:lnTo>
                    <a:pt x="1356" y="272"/>
                  </a:lnTo>
                  <a:lnTo>
                    <a:pt x="1330" y="285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5"/>
                  </a:lnTo>
                  <a:lnTo>
                    <a:pt x="65" y="272"/>
                  </a:lnTo>
                  <a:lnTo>
                    <a:pt x="44" y="254"/>
                  </a:lnTo>
                  <a:lnTo>
                    <a:pt x="25" y="232"/>
                  </a:lnTo>
                  <a:lnTo>
                    <a:pt x="11" y="206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5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1039">
              <a:extLst>
                <a:ext uri="{FF2B5EF4-FFF2-40B4-BE49-F238E27FC236}">
                  <a16:creationId xmlns:a16="http://schemas.microsoft.com/office/drawing/2014/main" id="{2F8FAC54-6F5F-A0C0-5AFF-5AFB228F7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6" y="-1662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6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7 h 298"/>
                <a:gd name="T24" fmla="*/ 1396 w 1421"/>
                <a:gd name="T25" fmla="*/ 232 h 298"/>
                <a:gd name="T26" fmla="*/ 1378 w 1421"/>
                <a:gd name="T27" fmla="*/ 255 h 298"/>
                <a:gd name="T28" fmla="*/ 1356 w 1421"/>
                <a:gd name="T29" fmla="*/ 272 h 298"/>
                <a:gd name="T30" fmla="*/ 1330 w 1421"/>
                <a:gd name="T31" fmla="*/ 287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7 h 298"/>
                <a:gd name="T42" fmla="*/ 65 w 1421"/>
                <a:gd name="T43" fmla="*/ 272 h 298"/>
                <a:gd name="T44" fmla="*/ 44 w 1421"/>
                <a:gd name="T45" fmla="*/ 255 h 298"/>
                <a:gd name="T46" fmla="*/ 25 w 1421"/>
                <a:gd name="T47" fmla="*/ 232 h 298"/>
                <a:gd name="T48" fmla="*/ 11 w 1421"/>
                <a:gd name="T49" fmla="*/ 207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6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6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7"/>
                  </a:lnTo>
                  <a:lnTo>
                    <a:pt x="1396" y="232"/>
                  </a:lnTo>
                  <a:lnTo>
                    <a:pt x="1378" y="255"/>
                  </a:lnTo>
                  <a:lnTo>
                    <a:pt x="1356" y="272"/>
                  </a:lnTo>
                  <a:lnTo>
                    <a:pt x="1330" y="287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7"/>
                  </a:lnTo>
                  <a:lnTo>
                    <a:pt x="65" y="272"/>
                  </a:lnTo>
                  <a:lnTo>
                    <a:pt x="44" y="255"/>
                  </a:lnTo>
                  <a:lnTo>
                    <a:pt x="25" y="232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6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1040">
              <a:extLst>
                <a:ext uri="{FF2B5EF4-FFF2-40B4-BE49-F238E27FC236}">
                  <a16:creationId xmlns:a16="http://schemas.microsoft.com/office/drawing/2014/main" id="{9E9E4235-5519-DB17-682A-DEABFAE6C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6" y="-1522"/>
              <a:ext cx="215" cy="74"/>
            </a:xfrm>
            <a:custGeom>
              <a:avLst/>
              <a:gdLst>
                <a:gd name="T0" fmla="*/ 149 w 860"/>
                <a:gd name="T1" fmla="*/ 0 h 297"/>
                <a:gd name="T2" fmla="*/ 711 w 860"/>
                <a:gd name="T3" fmla="*/ 0 h 297"/>
                <a:gd name="T4" fmla="*/ 741 w 860"/>
                <a:gd name="T5" fmla="*/ 3 h 297"/>
                <a:gd name="T6" fmla="*/ 769 w 860"/>
                <a:gd name="T7" fmla="*/ 11 h 297"/>
                <a:gd name="T8" fmla="*/ 795 w 860"/>
                <a:gd name="T9" fmla="*/ 26 h 297"/>
                <a:gd name="T10" fmla="*/ 817 w 860"/>
                <a:gd name="T11" fmla="*/ 43 h 297"/>
                <a:gd name="T12" fmla="*/ 835 w 860"/>
                <a:gd name="T13" fmla="*/ 66 h 297"/>
                <a:gd name="T14" fmla="*/ 849 w 860"/>
                <a:gd name="T15" fmla="*/ 90 h 297"/>
                <a:gd name="T16" fmla="*/ 857 w 860"/>
                <a:gd name="T17" fmla="*/ 118 h 297"/>
                <a:gd name="T18" fmla="*/ 860 w 860"/>
                <a:gd name="T19" fmla="*/ 149 h 297"/>
                <a:gd name="T20" fmla="*/ 857 w 860"/>
                <a:gd name="T21" fmla="*/ 179 h 297"/>
                <a:gd name="T22" fmla="*/ 849 w 860"/>
                <a:gd name="T23" fmla="*/ 207 h 297"/>
                <a:gd name="T24" fmla="*/ 835 w 860"/>
                <a:gd name="T25" fmla="*/ 231 h 297"/>
                <a:gd name="T26" fmla="*/ 817 w 860"/>
                <a:gd name="T27" fmla="*/ 254 h 297"/>
                <a:gd name="T28" fmla="*/ 795 w 860"/>
                <a:gd name="T29" fmla="*/ 271 h 297"/>
                <a:gd name="T30" fmla="*/ 769 w 860"/>
                <a:gd name="T31" fmla="*/ 286 h 297"/>
                <a:gd name="T32" fmla="*/ 741 w 860"/>
                <a:gd name="T33" fmla="*/ 294 h 297"/>
                <a:gd name="T34" fmla="*/ 711 w 860"/>
                <a:gd name="T35" fmla="*/ 297 h 297"/>
                <a:gd name="T36" fmla="*/ 149 w 860"/>
                <a:gd name="T37" fmla="*/ 297 h 297"/>
                <a:gd name="T38" fmla="*/ 119 w 860"/>
                <a:gd name="T39" fmla="*/ 294 h 297"/>
                <a:gd name="T40" fmla="*/ 91 w 860"/>
                <a:gd name="T41" fmla="*/ 286 h 297"/>
                <a:gd name="T42" fmla="*/ 65 w 860"/>
                <a:gd name="T43" fmla="*/ 271 h 297"/>
                <a:gd name="T44" fmla="*/ 44 w 860"/>
                <a:gd name="T45" fmla="*/ 254 h 297"/>
                <a:gd name="T46" fmla="*/ 25 w 860"/>
                <a:gd name="T47" fmla="*/ 231 h 297"/>
                <a:gd name="T48" fmla="*/ 11 w 860"/>
                <a:gd name="T49" fmla="*/ 207 h 297"/>
                <a:gd name="T50" fmla="*/ 3 w 860"/>
                <a:gd name="T51" fmla="*/ 179 h 297"/>
                <a:gd name="T52" fmla="*/ 0 w 860"/>
                <a:gd name="T53" fmla="*/ 149 h 297"/>
                <a:gd name="T54" fmla="*/ 3 w 860"/>
                <a:gd name="T55" fmla="*/ 118 h 297"/>
                <a:gd name="T56" fmla="*/ 11 w 860"/>
                <a:gd name="T57" fmla="*/ 90 h 297"/>
                <a:gd name="T58" fmla="*/ 25 w 860"/>
                <a:gd name="T59" fmla="*/ 66 h 297"/>
                <a:gd name="T60" fmla="*/ 44 w 860"/>
                <a:gd name="T61" fmla="*/ 43 h 297"/>
                <a:gd name="T62" fmla="*/ 65 w 860"/>
                <a:gd name="T63" fmla="*/ 26 h 297"/>
                <a:gd name="T64" fmla="*/ 91 w 860"/>
                <a:gd name="T65" fmla="*/ 11 h 297"/>
                <a:gd name="T66" fmla="*/ 119 w 860"/>
                <a:gd name="T67" fmla="*/ 3 h 297"/>
                <a:gd name="T68" fmla="*/ 149 w 860"/>
                <a:gd name="T6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0" h="297">
                  <a:moveTo>
                    <a:pt x="149" y="0"/>
                  </a:moveTo>
                  <a:lnTo>
                    <a:pt x="711" y="0"/>
                  </a:lnTo>
                  <a:lnTo>
                    <a:pt x="741" y="3"/>
                  </a:lnTo>
                  <a:lnTo>
                    <a:pt x="769" y="11"/>
                  </a:lnTo>
                  <a:lnTo>
                    <a:pt x="795" y="26"/>
                  </a:lnTo>
                  <a:lnTo>
                    <a:pt x="817" y="43"/>
                  </a:lnTo>
                  <a:lnTo>
                    <a:pt x="835" y="66"/>
                  </a:lnTo>
                  <a:lnTo>
                    <a:pt x="849" y="90"/>
                  </a:lnTo>
                  <a:lnTo>
                    <a:pt x="857" y="118"/>
                  </a:lnTo>
                  <a:lnTo>
                    <a:pt x="860" y="149"/>
                  </a:lnTo>
                  <a:lnTo>
                    <a:pt x="857" y="179"/>
                  </a:lnTo>
                  <a:lnTo>
                    <a:pt x="849" y="207"/>
                  </a:lnTo>
                  <a:lnTo>
                    <a:pt x="835" y="231"/>
                  </a:lnTo>
                  <a:lnTo>
                    <a:pt x="817" y="254"/>
                  </a:lnTo>
                  <a:lnTo>
                    <a:pt x="795" y="271"/>
                  </a:lnTo>
                  <a:lnTo>
                    <a:pt x="769" y="286"/>
                  </a:lnTo>
                  <a:lnTo>
                    <a:pt x="741" y="294"/>
                  </a:lnTo>
                  <a:lnTo>
                    <a:pt x="711" y="297"/>
                  </a:lnTo>
                  <a:lnTo>
                    <a:pt x="149" y="297"/>
                  </a:lnTo>
                  <a:lnTo>
                    <a:pt x="119" y="294"/>
                  </a:lnTo>
                  <a:lnTo>
                    <a:pt x="91" y="286"/>
                  </a:lnTo>
                  <a:lnTo>
                    <a:pt x="65" y="271"/>
                  </a:lnTo>
                  <a:lnTo>
                    <a:pt x="44" y="254"/>
                  </a:lnTo>
                  <a:lnTo>
                    <a:pt x="25" y="231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8"/>
                  </a:lnTo>
                  <a:lnTo>
                    <a:pt x="11" y="90"/>
                  </a:lnTo>
                  <a:lnTo>
                    <a:pt x="25" y="66"/>
                  </a:lnTo>
                  <a:lnTo>
                    <a:pt x="44" y="43"/>
                  </a:lnTo>
                  <a:lnTo>
                    <a:pt x="65" y="26"/>
                  </a:lnTo>
                  <a:lnTo>
                    <a:pt x="91" y="11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1041">
              <a:extLst>
                <a:ext uri="{FF2B5EF4-FFF2-40B4-BE49-F238E27FC236}">
                  <a16:creationId xmlns:a16="http://schemas.microsoft.com/office/drawing/2014/main" id="{4C0D88CA-54A9-14E7-13A3-B31342635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6" y="-1946"/>
              <a:ext cx="636" cy="817"/>
            </a:xfrm>
            <a:custGeom>
              <a:avLst/>
              <a:gdLst>
                <a:gd name="T0" fmla="*/ 150 w 2545"/>
                <a:gd name="T1" fmla="*/ 0 h 3271"/>
                <a:gd name="T2" fmla="*/ 2395 w 2545"/>
                <a:gd name="T3" fmla="*/ 0 h 3271"/>
                <a:gd name="T4" fmla="*/ 2425 w 2545"/>
                <a:gd name="T5" fmla="*/ 3 h 3271"/>
                <a:gd name="T6" fmla="*/ 2453 w 2545"/>
                <a:gd name="T7" fmla="*/ 11 h 3271"/>
                <a:gd name="T8" fmla="*/ 2479 w 2545"/>
                <a:gd name="T9" fmla="*/ 26 h 3271"/>
                <a:gd name="T10" fmla="*/ 2501 w 2545"/>
                <a:gd name="T11" fmla="*/ 43 h 3271"/>
                <a:gd name="T12" fmla="*/ 2520 w 2545"/>
                <a:gd name="T13" fmla="*/ 66 h 3271"/>
                <a:gd name="T14" fmla="*/ 2533 w 2545"/>
                <a:gd name="T15" fmla="*/ 90 h 3271"/>
                <a:gd name="T16" fmla="*/ 2542 w 2545"/>
                <a:gd name="T17" fmla="*/ 118 h 3271"/>
                <a:gd name="T18" fmla="*/ 2545 w 2545"/>
                <a:gd name="T19" fmla="*/ 148 h 3271"/>
                <a:gd name="T20" fmla="*/ 2545 w 2545"/>
                <a:gd name="T21" fmla="*/ 369 h 3271"/>
                <a:gd name="T22" fmla="*/ 2246 w 2545"/>
                <a:gd name="T23" fmla="*/ 885 h 3271"/>
                <a:gd name="T24" fmla="*/ 2246 w 2545"/>
                <a:gd name="T25" fmla="*/ 297 h 3271"/>
                <a:gd name="T26" fmla="*/ 300 w 2545"/>
                <a:gd name="T27" fmla="*/ 297 h 3271"/>
                <a:gd name="T28" fmla="*/ 300 w 2545"/>
                <a:gd name="T29" fmla="*/ 2973 h 3271"/>
                <a:gd name="T30" fmla="*/ 2246 w 2545"/>
                <a:gd name="T31" fmla="*/ 2973 h 3271"/>
                <a:gd name="T32" fmla="*/ 2246 w 2545"/>
                <a:gd name="T33" fmla="*/ 2603 h 3271"/>
                <a:gd name="T34" fmla="*/ 2403 w 2545"/>
                <a:gd name="T35" fmla="*/ 2500 h 3271"/>
                <a:gd name="T36" fmla="*/ 2430 w 2545"/>
                <a:gd name="T37" fmla="*/ 2478 h 3271"/>
                <a:gd name="T38" fmla="*/ 2454 w 2545"/>
                <a:gd name="T39" fmla="*/ 2453 h 3271"/>
                <a:gd name="T40" fmla="*/ 2474 w 2545"/>
                <a:gd name="T41" fmla="*/ 2425 h 3271"/>
                <a:gd name="T42" fmla="*/ 2545 w 2545"/>
                <a:gd name="T43" fmla="*/ 2302 h 3271"/>
                <a:gd name="T44" fmla="*/ 2545 w 2545"/>
                <a:gd name="T45" fmla="*/ 3122 h 3271"/>
                <a:gd name="T46" fmla="*/ 2542 w 2545"/>
                <a:gd name="T47" fmla="*/ 3151 h 3271"/>
                <a:gd name="T48" fmla="*/ 2533 w 2545"/>
                <a:gd name="T49" fmla="*/ 3179 h 3271"/>
                <a:gd name="T50" fmla="*/ 2520 w 2545"/>
                <a:gd name="T51" fmla="*/ 3205 h 3271"/>
                <a:gd name="T52" fmla="*/ 2501 w 2545"/>
                <a:gd name="T53" fmla="*/ 3226 h 3271"/>
                <a:gd name="T54" fmla="*/ 2479 w 2545"/>
                <a:gd name="T55" fmla="*/ 3245 h 3271"/>
                <a:gd name="T56" fmla="*/ 2453 w 2545"/>
                <a:gd name="T57" fmla="*/ 3258 h 3271"/>
                <a:gd name="T58" fmla="*/ 2425 w 2545"/>
                <a:gd name="T59" fmla="*/ 3268 h 3271"/>
                <a:gd name="T60" fmla="*/ 2395 w 2545"/>
                <a:gd name="T61" fmla="*/ 3271 h 3271"/>
                <a:gd name="T62" fmla="*/ 150 w 2545"/>
                <a:gd name="T63" fmla="*/ 3271 h 3271"/>
                <a:gd name="T64" fmla="*/ 120 w 2545"/>
                <a:gd name="T65" fmla="*/ 3268 h 3271"/>
                <a:gd name="T66" fmla="*/ 92 w 2545"/>
                <a:gd name="T67" fmla="*/ 3258 h 3271"/>
                <a:gd name="T68" fmla="*/ 66 w 2545"/>
                <a:gd name="T69" fmla="*/ 3245 h 3271"/>
                <a:gd name="T70" fmla="*/ 44 w 2545"/>
                <a:gd name="T71" fmla="*/ 3226 h 3271"/>
                <a:gd name="T72" fmla="*/ 26 w 2545"/>
                <a:gd name="T73" fmla="*/ 3205 h 3271"/>
                <a:gd name="T74" fmla="*/ 12 w 2545"/>
                <a:gd name="T75" fmla="*/ 3179 h 3271"/>
                <a:gd name="T76" fmla="*/ 3 w 2545"/>
                <a:gd name="T77" fmla="*/ 3151 h 3271"/>
                <a:gd name="T78" fmla="*/ 0 w 2545"/>
                <a:gd name="T79" fmla="*/ 3122 h 3271"/>
                <a:gd name="T80" fmla="*/ 0 w 2545"/>
                <a:gd name="T81" fmla="*/ 148 h 3271"/>
                <a:gd name="T82" fmla="*/ 3 w 2545"/>
                <a:gd name="T83" fmla="*/ 118 h 3271"/>
                <a:gd name="T84" fmla="*/ 12 w 2545"/>
                <a:gd name="T85" fmla="*/ 90 h 3271"/>
                <a:gd name="T86" fmla="*/ 26 w 2545"/>
                <a:gd name="T87" fmla="*/ 66 h 3271"/>
                <a:gd name="T88" fmla="*/ 44 w 2545"/>
                <a:gd name="T89" fmla="*/ 43 h 3271"/>
                <a:gd name="T90" fmla="*/ 66 w 2545"/>
                <a:gd name="T91" fmla="*/ 26 h 3271"/>
                <a:gd name="T92" fmla="*/ 92 w 2545"/>
                <a:gd name="T93" fmla="*/ 11 h 3271"/>
                <a:gd name="T94" fmla="*/ 120 w 2545"/>
                <a:gd name="T95" fmla="*/ 3 h 3271"/>
                <a:gd name="T96" fmla="*/ 150 w 2545"/>
                <a:gd name="T97" fmla="*/ 0 h 3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45" h="3271">
                  <a:moveTo>
                    <a:pt x="150" y="0"/>
                  </a:moveTo>
                  <a:lnTo>
                    <a:pt x="2395" y="0"/>
                  </a:lnTo>
                  <a:lnTo>
                    <a:pt x="2425" y="3"/>
                  </a:lnTo>
                  <a:lnTo>
                    <a:pt x="2453" y="11"/>
                  </a:lnTo>
                  <a:lnTo>
                    <a:pt x="2479" y="26"/>
                  </a:lnTo>
                  <a:lnTo>
                    <a:pt x="2501" y="43"/>
                  </a:lnTo>
                  <a:lnTo>
                    <a:pt x="2520" y="66"/>
                  </a:lnTo>
                  <a:lnTo>
                    <a:pt x="2533" y="90"/>
                  </a:lnTo>
                  <a:lnTo>
                    <a:pt x="2542" y="118"/>
                  </a:lnTo>
                  <a:lnTo>
                    <a:pt x="2545" y="148"/>
                  </a:lnTo>
                  <a:lnTo>
                    <a:pt x="2545" y="369"/>
                  </a:lnTo>
                  <a:lnTo>
                    <a:pt x="2246" y="885"/>
                  </a:lnTo>
                  <a:lnTo>
                    <a:pt x="2246" y="297"/>
                  </a:lnTo>
                  <a:lnTo>
                    <a:pt x="300" y="297"/>
                  </a:lnTo>
                  <a:lnTo>
                    <a:pt x="300" y="2973"/>
                  </a:lnTo>
                  <a:lnTo>
                    <a:pt x="2246" y="2973"/>
                  </a:lnTo>
                  <a:lnTo>
                    <a:pt x="2246" y="2603"/>
                  </a:lnTo>
                  <a:lnTo>
                    <a:pt x="2403" y="2500"/>
                  </a:lnTo>
                  <a:lnTo>
                    <a:pt x="2430" y="2478"/>
                  </a:lnTo>
                  <a:lnTo>
                    <a:pt x="2454" y="2453"/>
                  </a:lnTo>
                  <a:lnTo>
                    <a:pt x="2474" y="2425"/>
                  </a:lnTo>
                  <a:lnTo>
                    <a:pt x="2545" y="2302"/>
                  </a:lnTo>
                  <a:lnTo>
                    <a:pt x="2545" y="3122"/>
                  </a:lnTo>
                  <a:lnTo>
                    <a:pt x="2542" y="3151"/>
                  </a:lnTo>
                  <a:lnTo>
                    <a:pt x="2533" y="3179"/>
                  </a:lnTo>
                  <a:lnTo>
                    <a:pt x="2520" y="3205"/>
                  </a:lnTo>
                  <a:lnTo>
                    <a:pt x="2501" y="3226"/>
                  </a:lnTo>
                  <a:lnTo>
                    <a:pt x="2479" y="3245"/>
                  </a:lnTo>
                  <a:lnTo>
                    <a:pt x="2453" y="3258"/>
                  </a:lnTo>
                  <a:lnTo>
                    <a:pt x="2425" y="3268"/>
                  </a:lnTo>
                  <a:lnTo>
                    <a:pt x="2395" y="3271"/>
                  </a:lnTo>
                  <a:lnTo>
                    <a:pt x="150" y="3271"/>
                  </a:lnTo>
                  <a:lnTo>
                    <a:pt x="120" y="3268"/>
                  </a:lnTo>
                  <a:lnTo>
                    <a:pt x="92" y="3258"/>
                  </a:lnTo>
                  <a:lnTo>
                    <a:pt x="66" y="3245"/>
                  </a:lnTo>
                  <a:lnTo>
                    <a:pt x="44" y="3226"/>
                  </a:lnTo>
                  <a:lnTo>
                    <a:pt x="26" y="3205"/>
                  </a:lnTo>
                  <a:lnTo>
                    <a:pt x="12" y="3179"/>
                  </a:lnTo>
                  <a:lnTo>
                    <a:pt x="3" y="3151"/>
                  </a:lnTo>
                  <a:lnTo>
                    <a:pt x="0" y="3122"/>
                  </a:lnTo>
                  <a:lnTo>
                    <a:pt x="0" y="148"/>
                  </a:lnTo>
                  <a:lnTo>
                    <a:pt x="3" y="118"/>
                  </a:lnTo>
                  <a:lnTo>
                    <a:pt x="12" y="90"/>
                  </a:lnTo>
                  <a:lnTo>
                    <a:pt x="26" y="66"/>
                  </a:lnTo>
                  <a:lnTo>
                    <a:pt x="44" y="43"/>
                  </a:lnTo>
                  <a:lnTo>
                    <a:pt x="66" y="26"/>
                  </a:lnTo>
                  <a:lnTo>
                    <a:pt x="92" y="11"/>
                  </a:lnTo>
                  <a:lnTo>
                    <a:pt x="120" y="3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7" name="Freeform 1042">
              <a:extLst>
                <a:ext uri="{FF2B5EF4-FFF2-40B4-BE49-F238E27FC236}">
                  <a16:creationId xmlns:a16="http://schemas.microsoft.com/office/drawing/2014/main" id="{6C8F8AB7-9D94-BF20-0C22-9306BA9E4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05" y="-1855"/>
              <a:ext cx="393" cy="586"/>
            </a:xfrm>
            <a:custGeom>
              <a:avLst/>
              <a:gdLst>
                <a:gd name="T0" fmla="*/ 130 w 1574"/>
                <a:gd name="T1" fmla="*/ 1973 h 2342"/>
                <a:gd name="T2" fmla="*/ 221 w 1574"/>
                <a:gd name="T3" fmla="*/ 2017 h 2342"/>
                <a:gd name="T4" fmla="*/ 305 w 1574"/>
                <a:gd name="T5" fmla="*/ 2073 h 2342"/>
                <a:gd name="T6" fmla="*/ 434 w 1574"/>
                <a:gd name="T7" fmla="*/ 1957 h 2342"/>
                <a:gd name="T8" fmla="*/ 385 w 1574"/>
                <a:gd name="T9" fmla="*/ 1912 h 2342"/>
                <a:gd name="T10" fmla="*/ 311 w 1574"/>
                <a:gd name="T11" fmla="*/ 1861 h 2342"/>
                <a:gd name="T12" fmla="*/ 242 w 1574"/>
                <a:gd name="T13" fmla="*/ 1827 h 2342"/>
                <a:gd name="T14" fmla="*/ 186 w 1574"/>
                <a:gd name="T15" fmla="*/ 1808 h 2342"/>
                <a:gd name="T16" fmla="*/ 140 w 1574"/>
                <a:gd name="T17" fmla="*/ 1799 h 2342"/>
                <a:gd name="T18" fmla="*/ 1106 w 1574"/>
                <a:gd name="T19" fmla="*/ 0 h 2342"/>
                <a:gd name="T20" fmla="*/ 1161 w 1574"/>
                <a:gd name="T21" fmla="*/ 7 h 2342"/>
                <a:gd name="T22" fmla="*/ 1227 w 1574"/>
                <a:gd name="T23" fmla="*/ 25 h 2342"/>
                <a:gd name="T24" fmla="*/ 1305 w 1574"/>
                <a:gd name="T25" fmla="*/ 56 h 2342"/>
                <a:gd name="T26" fmla="*/ 1391 w 1574"/>
                <a:gd name="T27" fmla="*/ 107 h 2342"/>
                <a:gd name="T28" fmla="*/ 1462 w 1574"/>
                <a:gd name="T29" fmla="*/ 161 h 2342"/>
                <a:gd name="T30" fmla="*/ 1512 w 1574"/>
                <a:gd name="T31" fmla="*/ 213 h 2342"/>
                <a:gd name="T32" fmla="*/ 1544 w 1574"/>
                <a:gd name="T33" fmla="*/ 258 h 2342"/>
                <a:gd name="T34" fmla="*/ 1562 w 1574"/>
                <a:gd name="T35" fmla="*/ 294 h 2342"/>
                <a:gd name="T36" fmla="*/ 1571 w 1574"/>
                <a:gd name="T37" fmla="*/ 316 h 2342"/>
                <a:gd name="T38" fmla="*/ 1574 w 1574"/>
                <a:gd name="T39" fmla="*/ 340 h 2342"/>
                <a:gd name="T40" fmla="*/ 1563 w 1574"/>
                <a:gd name="T41" fmla="*/ 375 h 2342"/>
                <a:gd name="T42" fmla="*/ 618 w 1574"/>
                <a:gd name="T43" fmla="*/ 1998 h 2342"/>
                <a:gd name="T44" fmla="*/ 115 w 1574"/>
                <a:gd name="T45" fmla="*/ 2330 h 2342"/>
                <a:gd name="T46" fmla="*/ 77 w 1574"/>
                <a:gd name="T47" fmla="*/ 2342 h 2342"/>
                <a:gd name="T48" fmla="*/ 36 w 1574"/>
                <a:gd name="T49" fmla="*/ 2332 h 2342"/>
                <a:gd name="T50" fmla="*/ 13 w 1574"/>
                <a:gd name="T51" fmla="*/ 2311 h 2342"/>
                <a:gd name="T52" fmla="*/ 0 w 1574"/>
                <a:gd name="T53" fmla="*/ 2280 h 2342"/>
                <a:gd name="T54" fmla="*/ 34 w 1574"/>
                <a:gd name="T55" fmla="*/ 1683 h 2342"/>
                <a:gd name="T56" fmla="*/ 45 w 1574"/>
                <a:gd name="T57" fmla="*/ 1651 h 2342"/>
                <a:gd name="T58" fmla="*/ 991 w 1574"/>
                <a:gd name="T59" fmla="*/ 27 h 2342"/>
                <a:gd name="T60" fmla="*/ 1023 w 1574"/>
                <a:gd name="T61" fmla="*/ 7 h 2342"/>
                <a:gd name="T62" fmla="*/ 1036 w 1574"/>
                <a:gd name="T63" fmla="*/ 4 h 2342"/>
                <a:gd name="T64" fmla="*/ 1064 w 1574"/>
                <a:gd name="T65" fmla="*/ 0 h 2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74" h="2342">
                  <a:moveTo>
                    <a:pt x="140" y="1799"/>
                  </a:moveTo>
                  <a:lnTo>
                    <a:pt x="130" y="1973"/>
                  </a:lnTo>
                  <a:lnTo>
                    <a:pt x="175" y="1993"/>
                  </a:lnTo>
                  <a:lnTo>
                    <a:pt x="221" y="2017"/>
                  </a:lnTo>
                  <a:lnTo>
                    <a:pt x="264" y="2043"/>
                  </a:lnTo>
                  <a:lnTo>
                    <a:pt x="305" y="2073"/>
                  </a:lnTo>
                  <a:lnTo>
                    <a:pt x="451" y="1976"/>
                  </a:lnTo>
                  <a:lnTo>
                    <a:pt x="434" y="1957"/>
                  </a:lnTo>
                  <a:lnTo>
                    <a:pt x="412" y="1935"/>
                  </a:lnTo>
                  <a:lnTo>
                    <a:pt x="385" y="1912"/>
                  </a:lnTo>
                  <a:lnTo>
                    <a:pt x="351" y="1887"/>
                  </a:lnTo>
                  <a:lnTo>
                    <a:pt x="311" y="1861"/>
                  </a:lnTo>
                  <a:lnTo>
                    <a:pt x="276" y="1843"/>
                  </a:lnTo>
                  <a:lnTo>
                    <a:pt x="242" y="1827"/>
                  </a:lnTo>
                  <a:lnTo>
                    <a:pt x="212" y="1816"/>
                  </a:lnTo>
                  <a:lnTo>
                    <a:pt x="186" y="1808"/>
                  </a:lnTo>
                  <a:lnTo>
                    <a:pt x="162" y="1803"/>
                  </a:lnTo>
                  <a:lnTo>
                    <a:pt x="140" y="1799"/>
                  </a:lnTo>
                  <a:close/>
                  <a:moveTo>
                    <a:pt x="1083" y="0"/>
                  </a:moveTo>
                  <a:lnTo>
                    <a:pt x="1106" y="0"/>
                  </a:lnTo>
                  <a:lnTo>
                    <a:pt x="1132" y="2"/>
                  </a:lnTo>
                  <a:lnTo>
                    <a:pt x="1161" y="7"/>
                  </a:lnTo>
                  <a:lnTo>
                    <a:pt x="1192" y="14"/>
                  </a:lnTo>
                  <a:lnTo>
                    <a:pt x="1227" y="25"/>
                  </a:lnTo>
                  <a:lnTo>
                    <a:pt x="1264" y="39"/>
                  </a:lnTo>
                  <a:lnTo>
                    <a:pt x="1305" y="56"/>
                  </a:lnTo>
                  <a:lnTo>
                    <a:pt x="1347" y="80"/>
                  </a:lnTo>
                  <a:lnTo>
                    <a:pt x="1391" y="107"/>
                  </a:lnTo>
                  <a:lnTo>
                    <a:pt x="1430" y="135"/>
                  </a:lnTo>
                  <a:lnTo>
                    <a:pt x="1462" y="161"/>
                  </a:lnTo>
                  <a:lnTo>
                    <a:pt x="1489" y="188"/>
                  </a:lnTo>
                  <a:lnTo>
                    <a:pt x="1512" y="213"/>
                  </a:lnTo>
                  <a:lnTo>
                    <a:pt x="1529" y="236"/>
                  </a:lnTo>
                  <a:lnTo>
                    <a:pt x="1544" y="258"/>
                  </a:lnTo>
                  <a:lnTo>
                    <a:pt x="1554" y="277"/>
                  </a:lnTo>
                  <a:lnTo>
                    <a:pt x="1562" y="294"/>
                  </a:lnTo>
                  <a:lnTo>
                    <a:pt x="1567" y="307"/>
                  </a:lnTo>
                  <a:lnTo>
                    <a:pt x="1571" y="316"/>
                  </a:lnTo>
                  <a:lnTo>
                    <a:pt x="1572" y="322"/>
                  </a:lnTo>
                  <a:lnTo>
                    <a:pt x="1574" y="340"/>
                  </a:lnTo>
                  <a:lnTo>
                    <a:pt x="1571" y="359"/>
                  </a:lnTo>
                  <a:lnTo>
                    <a:pt x="1563" y="375"/>
                  </a:lnTo>
                  <a:lnTo>
                    <a:pt x="628" y="1985"/>
                  </a:lnTo>
                  <a:lnTo>
                    <a:pt x="618" y="1998"/>
                  </a:lnTo>
                  <a:lnTo>
                    <a:pt x="605" y="2009"/>
                  </a:lnTo>
                  <a:lnTo>
                    <a:pt x="115" y="2330"/>
                  </a:lnTo>
                  <a:lnTo>
                    <a:pt x="97" y="2339"/>
                  </a:lnTo>
                  <a:lnTo>
                    <a:pt x="77" y="2342"/>
                  </a:lnTo>
                  <a:lnTo>
                    <a:pt x="56" y="2340"/>
                  </a:lnTo>
                  <a:lnTo>
                    <a:pt x="36" y="2332"/>
                  </a:lnTo>
                  <a:lnTo>
                    <a:pt x="23" y="2323"/>
                  </a:lnTo>
                  <a:lnTo>
                    <a:pt x="13" y="2311"/>
                  </a:lnTo>
                  <a:lnTo>
                    <a:pt x="5" y="2296"/>
                  </a:lnTo>
                  <a:lnTo>
                    <a:pt x="0" y="2280"/>
                  </a:lnTo>
                  <a:lnTo>
                    <a:pt x="0" y="2263"/>
                  </a:lnTo>
                  <a:lnTo>
                    <a:pt x="34" y="1683"/>
                  </a:lnTo>
                  <a:lnTo>
                    <a:pt x="38" y="1666"/>
                  </a:lnTo>
                  <a:lnTo>
                    <a:pt x="45" y="1651"/>
                  </a:lnTo>
                  <a:lnTo>
                    <a:pt x="981" y="41"/>
                  </a:lnTo>
                  <a:lnTo>
                    <a:pt x="991" y="27"/>
                  </a:lnTo>
                  <a:lnTo>
                    <a:pt x="1005" y="15"/>
                  </a:lnTo>
                  <a:lnTo>
                    <a:pt x="1023" y="7"/>
                  </a:lnTo>
                  <a:lnTo>
                    <a:pt x="1027" y="6"/>
                  </a:lnTo>
                  <a:lnTo>
                    <a:pt x="1036" y="4"/>
                  </a:lnTo>
                  <a:lnTo>
                    <a:pt x="1049" y="2"/>
                  </a:lnTo>
                  <a:lnTo>
                    <a:pt x="1064" y="0"/>
                  </a:lnTo>
                  <a:lnTo>
                    <a:pt x="10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1043">
              <a:extLst>
                <a:ext uri="{FF2B5EF4-FFF2-40B4-BE49-F238E27FC236}">
                  <a16:creationId xmlns:a16="http://schemas.microsoft.com/office/drawing/2014/main" id="{5184237D-EE39-A5B7-A920-997648791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5" y="-1385"/>
              <a:ext cx="286" cy="146"/>
            </a:xfrm>
            <a:custGeom>
              <a:avLst/>
              <a:gdLst>
                <a:gd name="T0" fmla="*/ 551 w 1143"/>
                <a:gd name="T1" fmla="*/ 5 h 585"/>
                <a:gd name="T2" fmla="*/ 577 w 1143"/>
                <a:gd name="T3" fmla="*/ 28 h 585"/>
                <a:gd name="T4" fmla="*/ 585 w 1143"/>
                <a:gd name="T5" fmla="*/ 110 h 585"/>
                <a:gd name="T6" fmla="*/ 554 w 1143"/>
                <a:gd name="T7" fmla="*/ 197 h 585"/>
                <a:gd name="T8" fmla="*/ 563 w 1143"/>
                <a:gd name="T9" fmla="*/ 239 h 585"/>
                <a:gd name="T10" fmla="*/ 581 w 1143"/>
                <a:gd name="T11" fmla="*/ 267 h 585"/>
                <a:gd name="T12" fmla="*/ 631 w 1143"/>
                <a:gd name="T13" fmla="*/ 275 h 585"/>
                <a:gd name="T14" fmla="*/ 674 w 1143"/>
                <a:gd name="T15" fmla="*/ 319 h 585"/>
                <a:gd name="T16" fmla="*/ 685 w 1143"/>
                <a:gd name="T17" fmla="*/ 353 h 585"/>
                <a:gd name="T18" fmla="*/ 838 w 1143"/>
                <a:gd name="T19" fmla="*/ 347 h 585"/>
                <a:gd name="T20" fmla="*/ 986 w 1143"/>
                <a:gd name="T21" fmla="*/ 362 h 585"/>
                <a:gd name="T22" fmla="*/ 1106 w 1143"/>
                <a:gd name="T23" fmla="*/ 369 h 585"/>
                <a:gd name="T24" fmla="*/ 1137 w 1143"/>
                <a:gd name="T25" fmla="*/ 396 h 585"/>
                <a:gd name="T26" fmla="*/ 1142 w 1143"/>
                <a:gd name="T27" fmla="*/ 436 h 585"/>
                <a:gd name="T28" fmla="*/ 1119 w 1143"/>
                <a:gd name="T29" fmla="*/ 470 h 585"/>
                <a:gd name="T30" fmla="*/ 1055 w 1143"/>
                <a:gd name="T31" fmla="*/ 477 h 585"/>
                <a:gd name="T32" fmla="*/ 946 w 1143"/>
                <a:gd name="T33" fmla="*/ 461 h 585"/>
                <a:gd name="T34" fmla="*/ 834 w 1143"/>
                <a:gd name="T35" fmla="*/ 447 h 585"/>
                <a:gd name="T36" fmla="*/ 730 w 1143"/>
                <a:gd name="T37" fmla="*/ 456 h 585"/>
                <a:gd name="T38" fmla="*/ 672 w 1143"/>
                <a:gd name="T39" fmla="*/ 481 h 585"/>
                <a:gd name="T40" fmla="*/ 630 w 1143"/>
                <a:gd name="T41" fmla="*/ 486 h 585"/>
                <a:gd name="T42" fmla="*/ 596 w 1143"/>
                <a:gd name="T43" fmla="*/ 472 h 585"/>
                <a:gd name="T44" fmla="*/ 571 w 1143"/>
                <a:gd name="T45" fmla="*/ 449 h 585"/>
                <a:gd name="T46" fmla="*/ 565 w 1143"/>
                <a:gd name="T47" fmla="*/ 403 h 585"/>
                <a:gd name="T48" fmla="*/ 531 w 1143"/>
                <a:gd name="T49" fmla="*/ 452 h 585"/>
                <a:gd name="T50" fmla="*/ 490 w 1143"/>
                <a:gd name="T51" fmla="*/ 465 h 585"/>
                <a:gd name="T52" fmla="*/ 450 w 1143"/>
                <a:gd name="T53" fmla="*/ 451 h 585"/>
                <a:gd name="T54" fmla="*/ 435 w 1143"/>
                <a:gd name="T55" fmla="*/ 414 h 585"/>
                <a:gd name="T56" fmla="*/ 445 w 1143"/>
                <a:gd name="T57" fmla="*/ 385 h 585"/>
                <a:gd name="T58" fmla="*/ 454 w 1143"/>
                <a:gd name="T59" fmla="*/ 365 h 585"/>
                <a:gd name="T60" fmla="*/ 417 w 1143"/>
                <a:gd name="T61" fmla="*/ 400 h 585"/>
                <a:gd name="T62" fmla="*/ 375 w 1143"/>
                <a:gd name="T63" fmla="*/ 423 h 585"/>
                <a:gd name="T64" fmla="*/ 331 w 1143"/>
                <a:gd name="T65" fmla="*/ 412 h 585"/>
                <a:gd name="T66" fmla="*/ 311 w 1143"/>
                <a:gd name="T67" fmla="*/ 375 h 585"/>
                <a:gd name="T68" fmla="*/ 360 w 1143"/>
                <a:gd name="T69" fmla="*/ 285 h 585"/>
                <a:gd name="T70" fmla="*/ 250 w 1143"/>
                <a:gd name="T71" fmla="*/ 388 h 585"/>
                <a:gd name="T72" fmla="*/ 95 w 1143"/>
                <a:gd name="T73" fmla="*/ 574 h 585"/>
                <a:gd name="T74" fmla="*/ 49 w 1143"/>
                <a:gd name="T75" fmla="*/ 584 h 585"/>
                <a:gd name="T76" fmla="*/ 9 w 1143"/>
                <a:gd name="T77" fmla="*/ 562 h 585"/>
                <a:gd name="T78" fmla="*/ 2 w 1143"/>
                <a:gd name="T79" fmla="*/ 521 h 585"/>
                <a:gd name="T80" fmla="*/ 137 w 1143"/>
                <a:gd name="T81" fmla="*/ 347 h 585"/>
                <a:gd name="T82" fmla="*/ 341 w 1143"/>
                <a:gd name="T83" fmla="*/ 122 h 585"/>
                <a:gd name="T84" fmla="*/ 395 w 1143"/>
                <a:gd name="T85" fmla="*/ 70 h 585"/>
                <a:gd name="T86" fmla="*/ 458 w 1143"/>
                <a:gd name="T87" fmla="*/ 20 h 585"/>
                <a:gd name="T88" fmla="*/ 528 w 1143"/>
                <a:gd name="T89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3" h="585">
                  <a:moveTo>
                    <a:pt x="528" y="0"/>
                  </a:moveTo>
                  <a:lnTo>
                    <a:pt x="539" y="2"/>
                  </a:lnTo>
                  <a:lnTo>
                    <a:pt x="551" y="5"/>
                  </a:lnTo>
                  <a:lnTo>
                    <a:pt x="561" y="10"/>
                  </a:lnTo>
                  <a:lnTo>
                    <a:pt x="571" y="18"/>
                  </a:lnTo>
                  <a:lnTo>
                    <a:pt x="577" y="28"/>
                  </a:lnTo>
                  <a:lnTo>
                    <a:pt x="585" y="53"/>
                  </a:lnTo>
                  <a:lnTo>
                    <a:pt x="587" y="81"/>
                  </a:lnTo>
                  <a:lnTo>
                    <a:pt x="585" y="110"/>
                  </a:lnTo>
                  <a:lnTo>
                    <a:pt x="578" y="139"/>
                  </a:lnTo>
                  <a:lnTo>
                    <a:pt x="567" y="168"/>
                  </a:lnTo>
                  <a:lnTo>
                    <a:pt x="554" y="197"/>
                  </a:lnTo>
                  <a:lnTo>
                    <a:pt x="537" y="227"/>
                  </a:lnTo>
                  <a:lnTo>
                    <a:pt x="551" y="232"/>
                  </a:lnTo>
                  <a:lnTo>
                    <a:pt x="563" y="239"/>
                  </a:lnTo>
                  <a:lnTo>
                    <a:pt x="573" y="252"/>
                  </a:lnTo>
                  <a:lnTo>
                    <a:pt x="577" y="260"/>
                  </a:lnTo>
                  <a:lnTo>
                    <a:pt x="581" y="267"/>
                  </a:lnTo>
                  <a:lnTo>
                    <a:pt x="597" y="266"/>
                  </a:lnTo>
                  <a:lnTo>
                    <a:pt x="614" y="269"/>
                  </a:lnTo>
                  <a:lnTo>
                    <a:pt x="631" y="275"/>
                  </a:lnTo>
                  <a:lnTo>
                    <a:pt x="646" y="286"/>
                  </a:lnTo>
                  <a:lnTo>
                    <a:pt x="661" y="300"/>
                  </a:lnTo>
                  <a:lnTo>
                    <a:pt x="674" y="319"/>
                  </a:lnTo>
                  <a:lnTo>
                    <a:pt x="681" y="334"/>
                  </a:lnTo>
                  <a:lnTo>
                    <a:pt x="684" y="345"/>
                  </a:lnTo>
                  <a:lnTo>
                    <a:pt x="685" y="353"/>
                  </a:lnTo>
                  <a:lnTo>
                    <a:pt x="738" y="347"/>
                  </a:lnTo>
                  <a:lnTo>
                    <a:pt x="789" y="346"/>
                  </a:lnTo>
                  <a:lnTo>
                    <a:pt x="838" y="347"/>
                  </a:lnTo>
                  <a:lnTo>
                    <a:pt x="887" y="351"/>
                  </a:lnTo>
                  <a:lnTo>
                    <a:pt x="936" y="356"/>
                  </a:lnTo>
                  <a:lnTo>
                    <a:pt x="986" y="362"/>
                  </a:lnTo>
                  <a:lnTo>
                    <a:pt x="1036" y="365"/>
                  </a:lnTo>
                  <a:lnTo>
                    <a:pt x="1089" y="367"/>
                  </a:lnTo>
                  <a:lnTo>
                    <a:pt x="1106" y="369"/>
                  </a:lnTo>
                  <a:lnTo>
                    <a:pt x="1119" y="375"/>
                  </a:lnTo>
                  <a:lnTo>
                    <a:pt x="1130" y="384"/>
                  </a:lnTo>
                  <a:lnTo>
                    <a:pt x="1137" y="396"/>
                  </a:lnTo>
                  <a:lnTo>
                    <a:pt x="1142" y="408"/>
                  </a:lnTo>
                  <a:lnTo>
                    <a:pt x="1143" y="422"/>
                  </a:lnTo>
                  <a:lnTo>
                    <a:pt x="1142" y="436"/>
                  </a:lnTo>
                  <a:lnTo>
                    <a:pt x="1137" y="449"/>
                  </a:lnTo>
                  <a:lnTo>
                    <a:pt x="1130" y="460"/>
                  </a:lnTo>
                  <a:lnTo>
                    <a:pt x="1119" y="470"/>
                  </a:lnTo>
                  <a:lnTo>
                    <a:pt x="1106" y="476"/>
                  </a:lnTo>
                  <a:lnTo>
                    <a:pt x="1089" y="478"/>
                  </a:lnTo>
                  <a:lnTo>
                    <a:pt x="1055" y="477"/>
                  </a:lnTo>
                  <a:lnTo>
                    <a:pt x="1020" y="473"/>
                  </a:lnTo>
                  <a:lnTo>
                    <a:pt x="983" y="467"/>
                  </a:lnTo>
                  <a:lnTo>
                    <a:pt x="946" y="461"/>
                  </a:lnTo>
                  <a:lnTo>
                    <a:pt x="909" y="455"/>
                  </a:lnTo>
                  <a:lnTo>
                    <a:pt x="872" y="450"/>
                  </a:lnTo>
                  <a:lnTo>
                    <a:pt x="834" y="447"/>
                  </a:lnTo>
                  <a:lnTo>
                    <a:pt x="798" y="446"/>
                  </a:lnTo>
                  <a:lnTo>
                    <a:pt x="763" y="449"/>
                  </a:lnTo>
                  <a:lnTo>
                    <a:pt x="730" y="456"/>
                  </a:lnTo>
                  <a:lnTo>
                    <a:pt x="698" y="469"/>
                  </a:lnTo>
                  <a:lnTo>
                    <a:pt x="685" y="475"/>
                  </a:lnTo>
                  <a:lnTo>
                    <a:pt x="672" y="481"/>
                  </a:lnTo>
                  <a:lnTo>
                    <a:pt x="657" y="486"/>
                  </a:lnTo>
                  <a:lnTo>
                    <a:pt x="644" y="488"/>
                  </a:lnTo>
                  <a:lnTo>
                    <a:pt x="630" y="486"/>
                  </a:lnTo>
                  <a:lnTo>
                    <a:pt x="619" y="482"/>
                  </a:lnTo>
                  <a:lnTo>
                    <a:pt x="608" y="477"/>
                  </a:lnTo>
                  <a:lnTo>
                    <a:pt x="596" y="472"/>
                  </a:lnTo>
                  <a:lnTo>
                    <a:pt x="586" y="465"/>
                  </a:lnTo>
                  <a:lnTo>
                    <a:pt x="578" y="458"/>
                  </a:lnTo>
                  <a:lnTo>
                    <a:pt x="571" y="449"/>
                  </a:lnTo>
                  <a:lnTo>
                    <a:pt x="566" y="437"/>
                  </a:lnTo>
                  <a:lnTo>
                    <a:pt x="565" y="418"/>
                  </a:lnTo>
                  <a:lnTo>
                    <a:pt x="565" y="403"/>
                  </a:lnTo>
                  <a:lnTo>
                    <a:pt x="554" y="422"/>
                  </a:lnTo>
                  <a:lnTo>
                    <a:pt x="542" y="441"/>
                  </a:lnTo>
                  <a:lnTo>
                    <a:pt x="531" y="452"/>
                  </a:lnTo>
                  <a:lnTo>
                    <a:pt x="519" y="460"/>
                  </a:lnTo>
                  <a:lnTo>
                    <a:pt x="504" y="464"/>
                  </a:lnTo>
                  <a:lnTo>
                    <a:pt x="490" y="465"/>
                  </a:lnTo>
                  <a:lnTo>
                    <a:pt x="475" y="463"/>
                  </a:lnTo>
                  <a:lnTo>
                    <a:pt x="462" y="458"/>
                  </a:lnTo>
                  <a:lnTo>
                    <a:pt x="450" y="451"/>
                  </a:lnTo>
                  <a:lnTo>
                    <a:pt x="441" y="441"/>
                  </a:lnTo>
                  <a:lnTo>
                    <a:pt x="436" y="428"/>
                  </a:lnTo>
                  <a:lnTo>
                    <a:pt x="435" y="414"/>
                  </a:lnTo>
                  <a:lnTo>
                    <a:pt x="439" y="398"/>
                  </a:lnTo>
                  <a:lnTo>
                    <a:pt x="442" y="391"/>
                  </a:lnTo>
                  <a:lnTo>
                    <a:pt x="445" y="385"/>
                  </a:lnTo>
                  <a:lnTo>
                    <a:pt x="445" y="385"/>
                  </a:lnTo>
                  <a:lnTo>
                    <a:pt x="444" y="385"/>
                  </a:lnTo>
                  <a:lnTo>
                    <a:pt x="454" y="365"/>
                  </a:lnTo>
                  <a:lnTo>
                    <a:pt x="440" y="374"/>
                  </a:lnTo>
                  <a:lnTo>
                    <a:pt x="428" y="385"/>
                  </a:lnTo>
                  <a:lnTo>
                    <a:pt x="417" y="400"/>
                  </a:lnTo>
                  <a:lnTo>
                    <a:pt x="405" y="412"/>
                  </a:lnTo>
                  <a:lnTo>
                    <a:pt x="390" y="420"/>
                  </a:lnTo>
                  <a:lnTo>
                    <a:pt x="375" y="423"/>
                  </a:lnTo>
                  <a:lnTo>
                    <a:pt x="359" y="423"/>
                  </a:lnTo>
                  <a:lnTo>
                    <a:pt x="345" y="419"/>
                  </a:lnTo>
                  <a:lnTo>
                    <a:pt x="331" y="412"/>
                  </a:lnTo>
                  <a:lnTo>
                    <a:pt x="321" y="402"/>
                  </a:lnTo>
                  <a:lnTo>
                    <a:pt x="314" y="389"/>
                  </a:lnTo>
                  <a:lnTo>
                    <a:pt x="311" y="375"/>
                  </a:lnTo>
                  <a:lnTo>
                    <a:pt x="313" y="360"/>
                  </a:lnTo>
                  <a:lnTo>
                    <a:pt x="320" y="343"/>
                  </a:lnTo>
                  <a:lnTo>
                    <a:pt x="360" y="285"/>
                  </a:lnTo>
                  <a:lnTo>
                    <a:pt x="400" y="224"/>
                  </a:lnTo>
                  <a:lnTo>
                    <a:pt x="323" y="305"/>
                  </a:lnTo>
                  <a:lnTo>
                    <a:pt x="250" y="388"/>
                  </a:lnTo>
                  <a:lnTo>
                    <a:pt x="177" y="475"/>
                  </a:lnTo>
                  <a:lnTo>
                    <a:pt x="108" y="562"/>
                  </a:lnTo>
                  <a:lnTo>
                    <a:pt x="95" y="574"/>
                  </a:lnTo>
                  <a:lnTo>
                    <a:pt x="80" y="582"/>
                  </a:lnTo>
                  <a:lnTo>
                    <a:pt x="64" y="585"/>
                  </a:lnTo>
                  <a:lnTo>
                    <a:pt x="49" y="584"/>
                  </a:lnTo>
                  <a:lnTo>
                    <a:pt x="33" y="580"/>
                  </a:lnTo>
                  <a:lnTo>
                    <a:pt x="21" y="572"/>
                  </a:lnTo>
                  <a:lnTo>
                    <a:pt x="9" y="562"/>
                  </a:lnTo>
                  <a:lnTo>
                    <a:pt x="2" y="550"/>
                  </a:lnTo>
                  <a:lnTo>
                    <a:pt x="0" y="535"/>
                  </a:lnTo>
                  <a:lnTo>
                    <a:pt x="2" y="521"/>
                  </a:lnTo>
                  <a:lnTo>
                    <a:pt x="12" y="506"/>
                  </a:lnTo>
                  <a:lnTo>
                    <a:pt x="74" y="426"/>
                  </a:lnTo>
                  <a:lnTo>
                    <a:pt x="137" y="347"/>
                  </a:lnTo>
                  <a:lnTo>
                    <a:pt x="202" y="270"/>
                  </a:lnTo>
                  <a:lnTo>
                    <a:pt x="270" y="194"/>
                  </a:lnTo>
                  <a:lnTo>
                    <a:pt x="341" y="122"/>
                  </a:lnTo>
                  <a:lnTo>
                    <a:pt x="357" y="106"/>
                  </a:lnTo>
                  <a:lnTo>
                    <a:pt x="376" y="88"/>
                  </a:lnTo>
                  <a:lnTo>
                    <a:pt x="395" y="70"/>
                  </a:lnTo>
                  <a:lnTo>
                    <a:pt x="414" y="51"/>
                  </a:lnTo>
                  <a:lnTo>
                    <a:pt x="435" y="35"/>
                  </a:lnTo>
                  <a:lnTo>
                    <a:pt x="458" y="20"/>
                  </a:lnTo>
                  <a:lnTo>
                    <a:pt x="480" y="9"/>
                  </a:lnTo>
                  <a:lnTo>
                    <a:pt x="504" y="2"/>
                  </a:lnTo>
                  <a:lnTo>
                    <a:pt x="5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9" name="Group 1139">
            <a:extLst>
              <a:ext uri="{FF2B5EF4-FFF2-40B4-BE49-F238E27FC236}">
                <a16:creationId xmlns:a16="http://schemas.microsoft.com/office/drawing/2014/main" id="{E34E689E-5969-E925-CAA6-A238933127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10345" y="2650705"/>
            <a:ext cx="314152" cy="226760"/>
            <a:chOff x="449" y="-2288"/>
            <a:chExt cx="2466" cy="1780"/>
          </a:xfrm>
          <a:solidFill>
            <a:schemeClr val="bg1"/>
          </a:solidFill>
        </p:grpSpPr>
        <p:sp>
          <p:nvSpPr>
            <p:cNvPr id="50" name="Freeform 1141">
              <a:extLst>
                <a:ext uri="{FF2B5EF4-FFF2-40B4-BE49-F238E27FC236}">
                  <a16:creationId xmlns:a16="http://schemas.microsoft.com/office/drawing/2014/main" id="{82BD51EE-983F-166A-9924-1BC23473E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" y="-1171"/>
              <a:ext cx="1047" cy="645"/>
            </a:xfrm>
            <a:custGeom>
              <a:avLst/>
              <a:gdLst>
                <a:gd name="T0" fmla="*/ 1398 w 2094"/>
                <a:gd name="T1" fmla="*/ 4 h 1290"/>
                <a:gd name="T2" fmla="*/ 1436 w 2094"/>
                <a:gd name="T3" fmla="*/ 25 h 1290"/>
                <a:gd name="T4" fmla="*/ 1494 w 2094"/>
                <a:gd name="T5" fmla="*/ 57 h 1290"/>
                <a:gd name="T6" fmla="*/ 1564 w 2094"/>
                <a:gd name="T7" fmla="*/ 99 h 1290"/>
                <a:gd name="T8" fmla="*/ 1639 w 2094"/>
                <a:gd name="T9" fmla="*/ 145 h 1290"/>
                <a:gd name="T10" fmla="*/ 1711 w 2094"/>
                <a:gd name="T11" fmla="*/ 195 h 1290"/>
                <a:gd name="T12" fmla="*/ 1773 w 2094"/>
                <a:gd name="T13" fmla="*/ 243 h 1290"/>
                <a:gd name="T14" fmla="*/ 1816 w 2094"/>
                <a:gd name="T15" fmla="*/ 286 h 1290"/>
                <a:gd name="T16" fmla="*/ 1870 w 2094"/>
                <a:gd name="T17" fmla="*/ 378 h 1290"/>
                <a:gd name="T18" fmla="*/ 1920 w 2094"/>
                <a:gd name="T19" fmla="*/ 498 h 1290"/>
                <a:gd name="T20" fmla="*/ 1963 w 2094"/>
                <a:gd name="T21" fmla="*/ 637 h 1290"/>
                <a:gd name="T22" fmla="*/ 2002 w 2094"/>
                <a:gd name="T23" fmla="*/ 786 h 1290"/>
                <a:gd name="T24" fmla="*/ 2037 w 2094"/>
                <a:gd name="T25" fmla="*/ 936 h 1290"/>
                <a:gd name="T26" fmla="*/ 2064 w 2094"/>
                <a:gd name="T27" fmla="*/ 1075 h 1290"/>
                <a:gd name="T28" fmla="*/ 2085 w 2094"/>
                <a:gd name="T29" fmla="*/ 1195 h 1290"/>
                <a:gd name="T30" fmla="*/ 2092 w 2094"/>
                <a:gd name="T31" fmla="*/ 1261 h 1290"/>
                <a:gd name="T32" fmla="*/ 2071 w 2094"/>
                <a:gd name="T33" fmla="*/ 1287 h 1290"/>
                <a:gd name="T34" fmla="*/ 39 w 2094"/>
                <a:gd name="T35" fmla="*/ 1290 h 1290"/>
                <a:gd name="T36" fmla="*/ 9 w 2094"/>
                <a:gd name="T37" fmla="*/ 1276 h 1290"/>
                <a:gd name="T38" fmla="*/ 0 w 2094"/>
                <a:gd name="T39" fmla="*/ 1245 h 1290"/>
                <a:gd name="T40" fmla="*/ 18 w 2094"/>
                <a:gd name="T41" fmla="*/ 1138 h 1290"/>
                <a:gd name="T42" fmla="*/ 42 w 2094"/>
                <a:gd name="T43" fmla="*/ 1008 h 1290"/>
                <a:gd name="T44" fmla="*/ 73 w 2094"/>
                <a:gd name="T45" fmla="*/ 861 h 1290"/>
                <a:gd name="T46" fmla="*/ 109 w 2094"/>
                <a:gd name="T47" fmla="*/ 711 h 1290"/>
                <a:gd name="T48" fmla="*/ 151 w 2094"/>
                <a:gd name="T49" fmla="*/ 565 h 1290"/>
                <a:gd name="T50" fmla="*/ 198 w 2094"/>
                <a:gd name="T51" fmla="*/ 435 h 1290"/>
                <a:gd name="T52" fmla="*/ 249 w 2094"/>
                <a:gd name="T53" fmla="*/ 327 h 1290"/>
                <a:gd name="T54" fmla="*/ 295 w 2094"/>
                <a:gd name="T55" fmla="*/ 265 h 1290"/>
                <a:gd name="T56" fmla="*/ 349 w 2094"/>
                <a:gd name="T57" fmla="*/ 219 h 1290"/>
                <a:gd name="T58" fmla="*/ 417 w 2094"/>
                <a:gd name="T59" fmla="*/ 169 h 1290"/>
                <a:gd name="T60" fmla="*/ 491 w 2094"/>
                <a:gd name="T61" fmla="*/ 121 h 1290"/>
                <a:gd name="T62" fmla="*/ 565 w 2094"/>
                <a:gd name="T63" fmla="*/ 76 h 1290"/>
                <a:gd name="T64" fmla="*/ 629 w 2094"/>
                <a:gd name="T65" fmla="*/ 40 h 1290"/>
                <a:gd name="T66" fmla="*/ 679 w 2094"/>
                <a:gd name="T67" fmla="*/ 13 h 1290"/>
                <a:gd name="T68" fmla="*/ 709 w 2094"/>
                <a:gd name="T69" fmla="*/ 0 h 1290"/>
                <a:gd name="T70" fmla="*/ 737 w 2094"/>
                <a:gd name="T71" fmla="*/ 9 h 1290"/>
                <a:gd name="T72" fmla="*/ 836 w 2094"/>
                <a:gd name="T73" fmla="*/ 70 h 1290"/>
                <a:gd name="T74" fmla="*/ 943 w 2094"/>
                <a:gd name="T75" fmla="*/ 108 h 1290"/>
                <a:gd name="T76" fmla="*/ 965 w 2094"/>
                <a:gd name="T77" fmla="*/ 121 h 1290"/>
                <a:gd name="T78" fmla="*/ 1046 w 2094"/>
                <a:gd name="T79" fmla="*/ 330 h 1290"/>
                <a:gd name="T80" fmla="*/ 1128 w 2094"/>
                <a:gd name="T81" fmla="*/ 121 h 1290"/>
                <a:gd name="T82" fmla="*/ 1149 w 2094"/>
                <a:gd name="T83" fmla="*/ 108 h 1290"/>
                <a:gd name="T84" fmla="*/ 1256 w 2094"/>
                <a:gd name="T85" fmla="*/ 70 h 1290"/>
                <a:gd name="T86" fmla="*/ 1356 w 2094"/>
                <a:gd name="T87" fmla="*/ 9 h 1290"/>
                <a:gd name="T88" fmla="*/ 1385 w 2094"/>
                <a:gd name="T89" fmla="*/ 0 h 1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94" h="1290">
                  <a:moveTo>
                    <a:pt x="1385" y="0"/>
                  </a:moveTo>
                  <a:lnTo>
                    <a:pt x="1398" y="4"/>
                  </a:lnTo>
                  <a:lnTo>
                    <a:pt x="1415" y="13"/>
                  </a:lnTo>
                  <a:lnTo>
                    <a:pt x="1436" y="25"/>
                  </a:lnTo>
                  <a:lnTo>
                    <a:pt x="1463" y="40"/>
                  </a:lnTo>
                  <a:lnTo>
                    <a:pt x="1494" y="57"/>
                  </a:lnTo>
                  <a:lnTo>
                    <a:pt x="1527" y="76"/>
                  </a:lnTo>
                  <a:lnTo>
                    <a:pt x="1564" y="99"/>
                  </a:lnTo>
                  <a:lnTo>
                    <a:pt x="1602" y="121"/>
                  </a:lnTo>
                  <a:lnTo>
                    <a:pt x="1639" y="145"/>
                  </a:lnTo>
                  <a:lnTo>
                    <a:pt x="1675" y="169"/>
                  </a:lnTo>
                  <a:lnTo>
                    <a:pt x="1711" y="195"/>
                  </a:lnTo>
                  <a:lnTo>
                    <a:pt x="1744" y="219"/>
                  </a:lnTo>
                  <a:lnTo>
                    <a:pt x="1773" y="243"/>
                  </a:lnTo>
                  <a:lnTo>
                    <a:pt x="1797" y="265"/>
                  </a:lnTo>
                  <a:lnTo>
                    <a:pt x="1816" y="286"/>
                  </a:lnTo>
                  <a:lnTo>
                    <a:pt x="1843" y="327"/>
                  </a:lnTo>
                  <a:lnTo>
                    <a:pt x="1870" y="378"/>
                  </a:lnTo>
                  <a:lnTo>
                    <a:pt x="1896" y="435"/>
                  </a:lnTo>
                  <a:lnTo>
                    <a:pt x="1920" y="498"/>
                  </a:lnTo>
                  <a:lnTo>
                    <a:pt x="1942" y="565"/>
                  </a:lnTo>
                  <a:lnTo>
                    <a:pt x="1963" y="637"/>
                  </a:lnTo>
                  <a:lnTo>
                    <a:pt x="1984" y="711"/>
                  </a:lnTo>
                  <a:lnTo>
                    <a:pt x="2002" y="786"/>
                  </a:lnTo>
                  <a:lnTo>
                    <a:pt x="2020" y="861"/>
                  </a:lnTo>
                  <a:lnTo>
                    <a:pt x="2037" y="936"/>
                  </a:lnTo>
                  <a:lnTo>
                    <a:pt x="2050" y="1008"/>
                  </a:lnTo>
                  <a:lnTo>
                    <a:pt x="2064" y="1075"/>
                  </a:lnTo>
                  <a:lnTo>
                    <a:pt x="2076" y="1138"/>
                  </a:lnTo>
                  <a:lnTo>
                    <a:pt x="2085" y="1195"/>
                  </a:lnTo>
                  <a:lnTo>
                    <a:pt x="2094" y="1245"/>
                  </a:lnTo>
                  <a:lnTo>
                    <a:pt x="2092" y="1261"/>
                  </a:lnTo>
                  <a:lnTo>
                    <a:pt x="2085" y="1276"/>
                  </a:lnTo>
                  <a:lnTo>
                    <a:pt x="2071" y="1287"/>
                  </a:lnTo>
                  <a:lnTo>
                    <a:pt x="2055" y="1290"/>
                  </a:lnTo>
                  <a:lnTo>
                    <a:pt x="39" y="1290"/>
                  </a:lnTo>
                  <a:lnTo>
                    <a:pt x="22" y="1287"/>
                  </a:lnTo>
                  <a:lnTo>
                    <a:pt x="9" y="1276"/>
                  </a:lnTo>
                  <a:lnTo>
                    <a:pt x="1" y="1261"/>
                  </a:lnTo>
                  <a:lnTo>
                    <a:pt x="0" y="1245"/>
                  </a:lnTo>
                  <a:lnTo>
                    <a:pt x="7" y="1195"/>
                  </a:lnTo>
                  <a:lnTo>
                    <a:pt x="18" y="1138"/>
                  </a:lnTo>
                  <a:lnTo>
                    <a:pt x="28" y="1075"/>
                  </a:lnTo>
                  <a:lnTo>
                    <a:pt x="42" y="1008"/>
                  </a:lnTo>
                  <a:lnTo>
                    <a:pt x="57" y="936"/>
                  </a:lnTo>
                  <a:lnTo>
                    <a:pt x="73" y="861"/>
                  </a:lnTo>
                  <a:lnTo>
                    <a:pt x="90" y="786"/>
                  </a:lnTo>
                  <a:lnTo>
                    <a:pt x="109" y="711"/>
                  </a:lnTo>
                  <a:lnTo>
                    <a:pt x="129" y="637"/>
                  </a:lnTo>
                  <a:lnTo>
                    <a:pt x="151" y="565"/>
                  </a:lnTo>
                  <a:lnTo>
                    <a:pt x="174" y="498"/>
                  </a:lnTo>
                  <a:lnTo>
                    <a:pt x="198" y="435"/>
                  </a:lnTo>
                  <a:lnTo>
                    <a:pt x="223" y="378"/>
                  </a:lnTo>
                  <a:lnTo>
                    <a:pt x="249" y="327"/>
                  </a:lnTo>
                  <a:lnTo>
                    <a:pt x="277" y="286"/>
                  </a:lnTo>
                  <a:lnTo>
                    <a:pt x="295" y="265"/>
                  </a:lnTo>
                  <a:lnTo>
                    <a:pt x="319" y="243"/>
                  </a:lnTo>
                  <a:lnTo>
                    <a:pt x="349" y="219"/>
                  </a:lnTo>
                  <a:lnTo>
                    <a:pt x="382" y="195"/>
                  </a:lnTo>
                  <a:lnTo>
                    <a:pt x="417" y="169"/>
                  </a:lnTo>
                  <a:lnTo>
                    <a:pt x="454" y="145"/>
                  </a:lnTo>
                  <a:lnTo>
                    <a:pt x="491" y="121"/>
                  </a:lnTo>
                  <a:lnTo>
                    <a:pt x="529" y="99"/>
                  </a:lnTo>
                  <a:lnTo>
                    <a:pt x="565" y="76"/>
                  </a:lnTo>
                  <a:lnTo>
                    <a:pt x="599" y="57"/>
                  </a:lnTo>
                  <a:lnTo>
                    <a:pt x="629" y="40"/>
                  </a:lnTo>
                  <a:lnTo>
                    <a:pt x="656" y="25"/>
                  </a:lnTo>
                  <a:lnTo>
                    <a:pt x="679" y="13"/>
                  </a:lnTo>
                  <a:lnTo>
                    <a:pt x="694" y="4"/>
                  </a:lnTo>
                  <a:lnTo>
                    <a:pt x="709" y="0"/>
                  </a:lnTo>
                  <a:lnTo>
                    <a:pt x="724" y="1"/>
                  </a:lnTo>
                  <a:lnTo>
                    <a:pt x="737" y="9"/>
                  </a:lnTo>
                  <a:lnTo>
                    <a:pt x="785" y="43"/>
                  </a:lnTo>
                  <a:lnTo>
                    <a:pt x="836" y="70"/>
                  </a:lnTo>
                  <a:lnTo>
                    <a:pt x="889" y="93"/>
                  </a:lnTo>
                  <a:lnTo>
                    <a:pt x="943" y="108"/>
                  </a:lnTo>
                  <a:lnTo>
                    <a:pt x="955" y="114"/>
                  </a:lnTo>
                  <a:lnTo>
                    <a:pt x="965" y="121"/>
                  </a:lnTo>
                  <a:lnTo>
                    <a:pt x="971" y="133"/>
                  </a:lnTo>
                  <a:lnTo>
                    <a:pt x="1046" y="330"/>
                  </a:lnTo>
                  <a:lnTo>
                    <a:pt x="1121" y="133"/>
                  </a:lnTo>
                  <a:lnTo>
                    <a:pt x="1128" y="121"/>
                  </a:lnTo>
                  <a:lnTo>
                    <a:pt x="1137" y="114"/>
                  </a:lnTo>
                  <a:lnTo>
                    <a:pt x="1149" y="108"/>
                  </a:lnTo>
                  <a:lnTo>
                    <a:pt x="1203" y="93"/>
                  </a:lnTo>
                  <a:lnTo>
                    <a:pt x="1256" y="70"/>
                  </a:lnTo>
                  <a:lnTo>
                    <a:pt x="1307" y="43"/>
                  </a:lnTo>
                  <a:lnTo>
                    <a:pt x="1356" y="9"/>
                  </a:lnTo>
                  <a:lnTo>
                    <a:pt x="1370" y="1"/>
                  </a:lnTo>
                  <a:lnTo>
                    <a:pt x="13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1142">
              <a:extLst>
                <a:ext uri="{FF2B5EF4-FFF2-40B4-BE49-F238E27FC236}">
                  <a16:creationId xmlns:a16="http://schemas.microsoft.com/office/drawing/2014/main" id="{4A9C7DC8-9222-AB3C-5D16-4E8E25B49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-1788"/>
              <a:ext cx="654" cy="637"/>
            </a:xfrm>
            <a:custGeom>
              <a:avLst/>
              <a:gdLst>
                <a:gd name="T0" fmla="*/ 816 w 1308"/>
                <a:gd name="T1" fmla="*/ 3 h 1273"/>
                <a:gd name="T2" fmla="*/ 945 w 1308"/>
                <a:gd name="T3" fmla="*/ 18 h 1273"/>
                <a:gd name="T4" fmla="*/ 1049 w 1308"/>
                <a:gd name="T5" fmla="*/ 49 h 1273"/>
                <a:gd name="T6" fmla="*/ 1131 w 1308"/>
                <a:gd name="T7" fmla="*/ 96 h 1273"/>
                <a:gd name="T8" fmla="*/ 1194 w 1308"/>
                <a:gd name="T9" fmla="*/ 153 h 1273"/>
                <a:gd name="T10" fmla="*/ 1241 w 1308"/>
                <a:gd name="T11" fmla="*/ 222 h 1273"/>
                <a:gd name="T12" fmla="*/ 1272 w 1308"/>
                <a:gd name="T13" fmla="*/ 301 h 1273"/>
                <a:gd name="T14" fmla="*/ 1293 w 1308"/>
                <a:gd name="T15" fmla="*/ 388 h 1273"/>
                <a:gd name="T16" fmla="*/ 1303 w 1308"/>
                <a:gd name="T17" fmla="*/ 484 h 1273"/>
                <a:gd name="T18" fmla="*/ 1308 w 1308"/>
                <a:gd name="T19" fmla="*/ 585 h 1273"/>
                <a:gd name="T20" fmla="*/ 1305 w 1308"/>
                <a:gd name="T21" fmla="*/ 711 h 1273"/>
                <a:gd name="T22" fmla="*/ 1275 w 1308"/>
                <a:gd name="T23" fmla="*/ 852 h 1273"/>
                <a:gd name="T24" fmla="*/ 1221 w 1308"/>
                <a:gd name="T25" fmla="*/ 978 h 1273"/>
                <a:gd name="T26" fmla="*/ 1143 w 1308"/>
                <a:gd name="T27" fmla="*/ 1087 h 1273"/>
                <a:gd name="T28" fmla="*/ 1046 w 1308"/>
                <a:gd name="T29" fmla="*/ 1174 h 1273"/>
                <a:gd name="T30" fmla="*/ 933 w 1308"/>
                <a:gd name="T31" fmla="*/ 1236 h 1273"/>
                <a:gd name="T32" fmla="*/ 809 w 1308"/>
                <a:gd name="T33" fmla="*/ 1269 h 1273"/>
                <a:gd name="T34" fmla="*/ 677 w 1308"/>
                <a:gd name="T35" fmla="*/ 1269 h 1273"/>
                <a:gd name="T36" fmla="*/ 553 w 1308"/>
                <a:gd name="T37" fmla="*/ 1236 h 1273"/>
                <a:gd name="T38" fmla="*/ 440 w 1308"/>
                <a:gd name="T39" fmla="*/ 1174 h 1273"/>
                <a:gd name="T40" fmla="*/ 344 w 1308"/>
                <a:gd name="T41" fmla="*/ 1087 h 1273"/>
                <a:gd name="T42" fmla="*/ 266 w 1308"/>
                <a:gd name="T43" fmla="*/ 978 h 1273"/>
                <a:gd name="T44" fmla="*/ 211 w 1308"/>
                <a:gd name="T45" fmla="*/ 852 h 1273"/>
                <a:gd name="T46" fmla="*/ 182 w 1308"/>
                <a:gd name="T47" fmla="*/ 711 h 1273"/>
                <a:gd name="T48" fmla="*/ 179 w 1308"/>
                <a:gd name="T49" fmla="*/ 576 h 1273"/>
                <a:gd name="T50" fmla="*/ 136 w 1308"/>
                <a:gd name="T51" fmla="*/ 615 h 1273"/>
                <a:gd name="T52" fmla="*/ 106 w 1308"/>
                <a:gd name="T53" fmla="*/ 666 h 1273"/>
                <a:gd name="T54" fmla="*/ 97 w 1308"/>
                <a:gd name="T55" fmla="*/ 735 h 1273"/>
                <a:gd name="T56" fmla="*/ 117 w 1308"/>
                <a:gd name="T57" fmla="*/ 813 h 1273"/>
                <a:gd name="T58" fmla="*/ 158 w 1308"/>
                <a:gd name="T59" fmla="*/ 864 h 1273"/>
                <a:gd name="T60" fmla="*/ 199 w 1308"/>
                <a:gd name="T61" fmla="*/ 913 h 1273"/>
                <a:gd name="T62" fmla="*/ 211 w 1308"/>
                <a:gd name="T63" fmla="*/ 946 h 1273"/>
                <a:gd name="T64" fmla="*/ 205 w 1308"/>
                <a:gd name="T65" fmla="*/ 981 h 1273"/>
                <a:gd name="T66" fmla="*/ 182 w 1308"/>
                <a:gd name="T67" fmla="*/ 1006 h 1273"/>
                <a:gd name="T68" fmla="*/ 145 w 1308"/>
                <a:gd name="T69" fmla="*/ 1018 h 1273"/>
                <a:gd name="T70" fmla="*/ 105 w 1308"/>
                <a:gd name="T71" fmla="*/ 1005 h 1273"/>
                <a:gd name="T72" fmla="*/ 66 w 1308"/>
                <a:gd name="T73" fmla="*/ 957 h 1273"/>
                <a:gd name="T74" fmla="*/ 55 w 1308"/>
                <a:gd name="T75" fmla="*/ 921 h 1273"/>
                <a:gd name="T76" fmla="*/ 31 w 1308"/>
                <a:gd name="T77" fmla="*/ 855 h 1273"/>
                <a:gd name="T78" fmla="*/ 3 w 1308"/>
                <a:gd name="T79" fmla="*/ 762 h 1273"/>
                <a:gd name="T80" fmla="*/ 4 w 1308"/>
                <a:gd name="T81" fmla="*/ 673 h 1273"/>
                <a:gd name="T82" fmla="*/ 36 w 1308"/>
                <a:gd name="T83" fmla="*/ 591 h 1273"/>
                <a:gd name="T84" fmla="*/ 90 w 1308"/>
                <a:gd name="T85" fmla="*/ 525 h 1273"/>
                <a:gd name="T86" fmla="*/ 154 w 1308"/>
                <a:gd name="T87" fmla="*/ 477 h 1273"/>
                <a:gd name="T88" fmla="*/ 191 w 1308"/>
                <a:gd name="T89" fmla="*/ 409 h 1273"/>
                <a:gd name="T90" fmla="*/ 211 w 1308"/>
                <a:gd name="T91" fmla="*/ 318 h 1273"/>
                <a:gd name="T92" fmla="*/ 241 w 1308"/>
                <a:gd name="T93" fmla="*/ 234 h 1273"/>
                <a:gd name="T94" fmla="*/ 286 w 1308"/>
                <a:gd name="T95" fmla="*/ 162 h 1273"/>
                <a:gd name="T96" fmla="*/ 349 w 1308"/>
                <a:gd name="T97" fmla="*/ 100 h 1273"/>
                <a:gd name="T98" fmla="*/ 431 w 1308"/>
                <a:gd name="T99" fmla="*/ 52 h 1273"/>
                <a:gd name="T100" fmla="*/ 538 w 1308"/>
                <a:gd name="T101" fmla="*/ 19 h 1273"/>
                <a:gd name="T102" fmla="*/ 668 w 1308"/>
                <a:gd name="T103" fmla="*/ 3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8" h="1273">
                  <a:moveTo>
                    <a:pt x="743" y="0"/>
                  </a:moveTo>
                  <a:lnTo>
                    <a:pt x="816" y="3"/>
                  </a:lnTo>
                  <a:lnTo>
                    <a:pt x="884" y="9"/>
                  </a:lnTo>
                  <a:lnTo>
                    <a:pt x="945" y="18"/>
                  </a:lnTo>
                  <a:lnTo>
                    <a:pt x="999" y="33"/>
                  </a:lnTo>
                  <a:lnTo>
                    <a:pt x="1049" y="49"/>
                  </a:lnTo>
                  <a:lnTo>
                    <a:pt x="1092" y="72"/>
                  </a:lnTo>
                  <a:lnTo>
                    <a:pt x="1131" y="96"/>
                  </a:lnTo>
                  <a:lnTo>
                    <a:pt x="1164" y="123"/>
                  </a:lnTo>
                  <a:lnTo>
                    <a:pt x="1194" y="153"/>
                  </a:lnTo>
                  <a:lnTo>
                    <a:pt x="1218" y="186"/>
                  </a:lnTo>
                  <a:lnTo>
                    <a:pt x="1241" y="222"/>
                  </a:lnTo>
                  <a:lnTo>
                    <a:pt x="1257" y="261"/>
                  </a:lnTo>
                  <a:lnTo>
                    <a:pt x="1272" y="301"/>
                  </a:lnTo>
                  <a:lnTo>
                    <a:pt x="1284" y="345"/>
                  </a:lnTo>
                  <a:lnTo>
                    <a:pt x="1293" y="388"/>
                  </a:lnTo>
                  <a:lnTo>
                    <a:pt x="1299" y="435"/>
                  </a:lnTo>
                  <a:lnTo>
                    <a:pt x="1303" y="484"/>
                  </a:lnTo>
                  <a:lnTo>
                    <a:pt x="1306" y="534"/>
                  </a:lnTo>
                  <a:lnTo>
                    <a:pt x="1308" y="585"/>
                  </a:lnTo>
                  <a:lnTo>
                    <a:pt x="1308" y="637"/>
                  </a:lnTo>
                  <a:lnTo>
                    <a:pt x="1305" y="711"/>
                  </a:lnTo>
                  <a:lnTo>
                    <a:pt x="1293" y="783"/>
                  </a:lnTo>
                  <a:lnTo>
                    <a:pt x="1275" y="852"/>
                  </a:lnTo>
                  <a:lnTo>
                    <a:pt x="1251" y="916"/>
                  </a:lnTo>
                  <a:lnTo>
                    <a:pt x="1221" y="978"/>
                  </a:lnTo>
                  <a:lnTo>
                    <a:pt x="1184" y="1035"/>
                  </a:lnTo>
                  <a:lnTo>
                    <a:pt x="1143" y="1087"/>
                  </a:lnTo>
                  <a:lnTo>
                    <a:pt x="1097" y="1134"/>
                  </a:lnTo>
                  <a:lnTo>
                    <a:pt x="1046" y="1174"/>
                  </a:lnTo>
                  <a:lnTo>
                    <a:pt x="992" y="1209"/>
                  </a:lnTo>
                  <a:lnTo>
                    <a:pt x="933" y="1236"/>
                  </a:lnTo>
                  <a:lnTo>
                    <a:pt x="873" y="1257"/>
                  </a:lnTo>
                  <a:lnTo>
                    <a:pt x="809" y="1269"/>
                  </a:lnTo>
                  <a:lnTo>
                    <a:pt x="743" y="1273"/>
                  </a:lnTo>
                  <a:lnTo>
                    <a:pt x="677" y="1269"/>
                  </a:lnTo>
                  <a:lnTo>
                    <a:pt x="614" y="1257"/>
                  </a:lnTo>
                  <a:lnTo>
                    <a:pt x="553" y="1236"/>
                  </a:lnTo>
                  <a:lnTo>
                    <a:pt x="494" y="1209"/>
                  </a:lnTo>
                  <a:lnTo>
                    <a:pt x="440" y="1174"/>
                  </a:lnTo>
                  <a:lnTo>
                    <a:pt x="389" y="1134"/>
                  </a:lnTo>
                  <a:lnTo>
                    <a:pt x="344" y="1087"/>
                  </a:lnTo>
                  <a:lnTo>
                    <a:pt x="302" y="1035"/>
                  </a:lnTo>
                  <a:lnTo>
                    <a:pt x="266" y="978"/>
                  </a:lnTo>
                  <a:lnTo>
                    <a:pt x="236" y="916"/>
                  </a:lnTo>
                  <a:lnTo>
                    <a:pt x="211" y="852"/>
                  </a:lnTo>
                  <a:lnTo>
                    <a:pt x="193" y="783"/>
                  </a:lnTo>
                  <a:lnTo>
                    <a:pt x="182" y="711"/>
                  </a:lnTo>
                  <a:lnTo>
                    <a:pt x="178" y="637"/>
                  </a:lnTo>
                  <a:lnTo>
                    <a:pt x="179" y="576"/>
                  </a:lnTo>
                  <a:lnTo>
                    <a:pt x="157" y="594"/>
                  </a:lnTo>
                  <a:lnTo>
                    <a:pt x="136" y="615"/>
                  </a:lnTo>
                  <a:lnTo>
                    <a:pt x="120" y="639"/>
                  </a:lnTo>
                  <a:lnTo>
                    <a:pt x="106" y="666"/>
                  </a:lnTo>
                  <a:lnTo>
                    <a:pt x="97" y="699"/>
                  </a:lnTo>
                  <a:lnTo>
                    <a:pt x="97" y="735"/>
                  </a:lnTo>
                  <a:lnTo>
                    <a:pt x="103" y="772"/>
                  </a:lnTo>
                  <a:lnTo>
                    <a:pt x="117" y="813"/>
                  </a:lnTo>
                  <a:lnTo>
                    <a:pt x="139" y="855"/>
                  </a:lnTo>
                  <a:lnTo>
                    <a:pt x="158" y="864"/>
                  </a:lnTo>
                  <a:lnTo>
                    <a:pt x="175" y="880"/>
                  </a:lnTo>
                  <a:lnTo>
                    <a:pt x="199" y="913"/>
                  </a:lnTo>
                  <a:lnTo>
                    <a:pt x="206" y="930"/>
                  </a:lnTo>
                  <a:lnTo>
                    <a:pt x="211" y="946"/>
                  </a:lnTo>
                  <a:lnTo>
                    <a:pt x="209" y="964"/>
                  </a:lnTo>
                  <a:lnTo>
                    <a:pt x="205" y="981"/>
                  </a:lnTo>
                  <a:lnTo>
                    <a:pt x="196" y="994"/>
                  </a:lnTo>
                  <a:lnTo>
                    <a:pt x="182" y="1006"/>
                  </a:lnTo>
                  <a:lnTo>
                    <a:pt x="164" y="1015"/>
                  </a:lnTo>
                  <a:lnTo>
                    <a:pt x="145" y="1018"/>
                  </a:lnTo>
                  <a:lnTo>
                    <a:pt x="123" y="1015"/>
                  </a:lnTo>
                  <a:lnTo>
                    <a:pt x="105" y="1005"/>
                  </a:lnTo>
                  <a:lnTo>
                    <a:pt x="90" y="990"/>
                  </a:lnTo>
                  <a:lnTo>
                    <a:pt x="66" y="957"/>
                  </a:lnTo>
                  <a:lnTo>
                    <a:pt x="58" y="939"/>
                  </a:lnTo>
                  <a:lnTo>
                    <a:pt x="55" y="921"/>
                  </a:lnTo>
                  <a:lnTo>
                    <a:pt x="57" y="903"/>
                  </a:lnTo>
                  <a:lnTo>
                    <a:pt x="31" y="855"/>
                  </a:lnTo>
                  <a:lnTo>
                    <a:pt x="13" y="807"/>
                  </a:lnTo>
                  <a:lnTo>
                    <a:pt x="3" y="762"/>
                  </a:lnTo>
                  <a:lnTo>
                    <a:pt x="0" y="717"/>
                  </a:lnTo>
                  <a:lnTo>
                    <a:pt x="4" y="673"/>
                  </a:lnTo>
                  <a:lnTo>
                    <a:pt x="16" y="631"/>
                  </a:lnTo>
                  <a:lnTo>
                    <a:pt x="36" y="591"/>
                  </a:lnTo>
                  <a:lnTo>
                    <a:pt x="61" y="556"/>
                  </a:lnTo>
                  <a:lnTo>
                    <a:pt x="90" y="525"/>
                  </a:lnTo>
                  <a:lnTo>
                    <a:pt x="121" y="498"/>
                  </a:lnTo>
                  <a:lnTo>
                    <a:pt x="154" y="477"/>
                  </a:lnTo>
                  <a:lnTo>
                    <a:pt x="185" y="457"/>
                  </a:lnTo>
                  <a:lnTo>
                    <a:pt x="191" y="409"/>
                  </a:lnTo>
                  <a:lnTo>
                    <a:pt x="199" y="363"/>
                  </a:lnTo>
                  <a:lnTo>
                    <a:pt x="211" y="318"/>
                  </a:lnTo>
                  <a:lnTo>
                    <a:pt x="224" y="274"/>
                  </a:lnTo>
                  <a:lnTo>
                    <a:pt x="241" y="234"/>
                  </a:lnTo>
                  <a:lnTo>
                    <a:pt x="262" y="196"/>
                  </a:lnTo>
                  <a:lnTo>
                    <a:pt x="286" y="162"/>
                  </a:lnTo>
                  <a:lnTo>
                    <a:pt x="316" y="130"/>
                  </a:lnTo>
                  <a:lnTo>
                    <a:pt x="349" y="100"/>
                  </a:lnTo>
                  <a:lnTo>
                    <a:pt x="388" y="75"/>
                  </a:lnTo>
                  <a:lnTo>
                    <a:pt x="431" y="52"/>
                  </a:lnTo>
                  <a:lnTo>
                    <a:pt x="481" y="34"/>
                  </a:lnTo>
                  <a:lnTo>
                    <a:pt x="538" y="19"/>
                  </a:lnTo>
                  <a:lnTo>
                    <a:pt x="599" y="9"/>
                  </a:lnTo>
                  <a:lnTo>
                    <a:pt x="668" y="3"/>
                  </a:lnTo>
                  <a:lnTo>
                    <a:pt x="7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1143">
              <a:extLst>
                <a:ext uri="{FF2B5EF4-FFF2-40B4-BE49-F238E27FC236}">
                  <a16:creationId xmlns:a16="http://schemas.microsoft.com/office/drawing/2014/main" id="{EAD7D9B6-2EF0-1394-A32E-0FC6E2A69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" y="-2288"/>
              <a:ext cx="2064" cy="1780"/>
            </a:xfrm>
            <a:custGeom>
              <a:avLst/>
              <a:gdLst>
                <a:gd name="T0" fmla="*/ 4016 w 4127"/>
                <a:gd name="T1" fmla="*/ 0 h 3560"/>
                <a:gd name="T2" fmla="*/ 4071 w 4127"/>
                <a:gd name="T3" fmla="*/ 15 h 3560"/>
                <a:gd name="T4" fmla="*/ 4112 w 4127"/>
                <a:gd name="T5" fmla="*/ 56 h 3560"/>
                <a:gd name="T6" fmla="*/ 4127 w 4127"/>
                <a:gd name="T7" fmla="*/ 111 h 3560"/>
                <a:gd name="T8" fmla="*/ 4065 w 4127"/>
                <a:gd name="T9" fmla="*/ 839 h 3560"/>
                <a:gd name="T10" fmla="*/ 3935 w 4127"/>
                <a:gd name="T11" fmla="*/ 824 h 3560"/>
                <a:gd name="T12" fmla="*/ 3814 w 4127"/>
                <a:gd name="T13" fmla="*/ 822 h 3560"/>
                <a:gd name="T14" fmla="*/ 3766 w 4127"/>
                <a:gd name="T15" fmla="*/ 309 h 3560"/>
                <a:gd name="T16" fmla="*/ 361 w 4127"/>
                <a:gd name="T17" fmla="*/ 2423 h 3560"/>
                <a:gd name="T18" fmla="*/ 2908 w 4127"/>
                <a:gd name="T19" fmla="*/ 2471 h 3560"/>
                <a:gd name="T20" fmla="*/ 2850 w 4127"/>
                <a:gd name="T21" fmla="*/ 2589 h 3560"/>
                <a:gd name="T22" fmla="*/ 2797 w 4127"/>
                <a:gd name="T23" fmla="*/ 2730 h 3560"/>
                <a:gd name="T24" fmla="*/ 2645 w 4127"/>
                <a:gd name="T25" fmla="*/ 2783 h 3560"/>
                <a:gd name="T26" fmla="*/ 2672 w 4127"/>
                <a:gd name="T27" fmla="*/ 2909 h 3560"/>
                <a:gd name="T28" fmla="*/ 2709 w 4127"/>
                <a:gd name="T29" fmla="*/ 3057 h 3560"/>
                <a:gd name="T30" fmla="*/ 2667 w 4127"/>
                <a:gd name="T31" fmla="*/ 3260 h 3560"/>
                <a:gd name="T32" fmla="*/ 2634 w 4127"/>
                <a:gd name="T33" fmla="*/ 3456 h 3560"/>
                <a:gd name="T34" fmla="*/ 2634 w 4127"/>
                <a:gd name="T35" fmla="*/ 3527 h 3560"/>
                <a:gd name="T36" fmla="*/ 1390 w 4127"/>
                <a:gd name="T37" fmla="*/ 3560 h 3560"/>
                <a:gd name="T38" fmla="*/ 1338 w 4127"/>
                <a:gd name="T39" fmla="*/ 3546 h 3560"/>
                <a:gd name="T40" fmla="*/ 1297 w 4127"/>
                <a:gd name="T41" fmla="*/ 3509 h 3560"/>
                <a:gd name="T42" fmla="*/ 1279 w 4127"/>
                <a:gd name="T43" fmla="*/ 3456 h 3560"/>
                <a:gd name="T44" fmla="*/ 1290 w 4127"/>
                <a:gd name="T45" fmla="*/ 3402 h 3560"/>
                <a:gd name="T46" fmla="*/ 1360 w 4127"/>
                <a:gd name="T47" fmla="*/ 3230 h 3560"/>
                <a:gd name="T48" fmla="*/ 1414 w 4127"/>
                <a:gd name="T49" fmla="*/ 3065 h 3560"/>
                <a:gd name="T50" fmla="*/ 1453 w 4127"/>
                <a:gd name="T51" fmla="*/ 2913 h 3560"/>
                <a:gd name="T52" fmla="*/ 1480 w 4127"/>
                <a:gd name="T53" fmla="*/ 2784 h 3560"/>
                <a:gd name="T54" fmla="*/ 110 w 4127"/>
                <a:gd name="T55" fmla="*/ 2730 h 3560"/>
                <a:gd name="T56" fmla="*/ 55 w 4127"/>
                <a:gd name="T57" fmla="*/ 2715 h 3560"/>
                <a:gd name="T58" fmla="*/ 14 w 4127"/>
                <a:gd name="T59" fmla="*/ 2676 h 3560"/>
                <a:gd name="T60" fmla="*/ 0 w 4127"/>
                <a:gd name="T61" fmla="*/ 2619 h 3560"/>
                <a:gd name="T62" fmla="*/ 4 w 4127"/>
                <a:gd name="T63" fmla="*/ 83 h 3560"/>
                <a:gd name="T64" fmla="*/ 32 w 4127"/>
                <a:gd name="T65" fmla="*/ 33 h 3560"/>
                <a:gd name="T66" fmla="*/ 80 w 4127"/>
                <a:gd name="T67" fmla="*/ 5 h 3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27" h="3560">
                  <a:moveTo>
                    <a:pt x="110" y="0"/>
                  </a:moveTo>
                  <a:lnTo>
                    <a:pt x="4016" y="0"/>
                  </a:lnTo>
                  <a:lnTo>
                    <a:pt x="4044" y="5"/>
                  </a:lnTo>
                  <a:lnTo>
                    <a:pt x="4071" y="15"/>
                  </a:lnTo>
                  <a:lnTo>
                    <a:pt x="4094" y="33"/>
                  </a:lnTo>
                  <a:lnTo>
                    <a:pt x="4112" y="56"/>
                  </a:lnTo>
                  <a:lnTo>
                    <a:pt x="4122" y="83"/>
                  </a:lnTo>
                  <a:lnTo>
                    <a:pt x="4127" y="111"/>
                  </a:lnTo>
                  <a:lnTo>
                    <a:pt x="4127" y="851"/>
                  </a:lnTo>
                  <a:lnTo>
                    <a:pt x="4065" y="839"/>
                  </a:lnTo>
                  <a:lnTo>
                    <a:pt x="4002" y="830"/>
                  </a:lnTo>
                  <a:lnTo>
                    <a:pt x="3935" y="824"/>
                  </a:lnTo>
                  <a:lnTo>
                    <a:pt x="3863" y="822"/>
                  </a:lnTo>
                  <a:lnTo>
                    <a:pt x="3814" y="822"/>
                  </a:lnTo>
                  <a:lnTo>
                    <a:pt x="3766" y="825"/>
                  </a:lnTo>
                  <a:lnTo>
                    <a:pt x="3766" y="309"/>
                  </a:lnTo>
                  <a:lnTo>
                    <a:pt x="361" y="309"/>
                  </a:lnTo>
                  <a:lnTo>
                    <a:pt x="361" y="2423"/>
                  </a:lnTo>
                  <a:lnTo>
                    <a:pt x="2941" y="2423"/>
                  </a:lnTo>
                  <a:lnTo>
                    <a:pt x="2908" y="2471"/>
                  </a:lnTo>
                  <a:lnTo>
                    <a:pt x="2878" y="2526"/>
                  </a:lnTo>
                  <a:lnTo>
                    <a:pt x="2850" y="2589"/>
                  </a:lnTo>
                  <a:lnTo>
                    <a:pt x="2823" y="2657"/>
                  </a:lnTo>
                  <a:lnTo>
                    <a:pt x="2797" y="2730"/>
                  </a:lnTo>
                  <a:lnTo>
                    <a:pt x="2636" y="2730"/>
                  </a:lnTo>
                  <a:lnTo>
                    <a:pt x="2645" y="2783"/>
                  </a:lnTo>
                  <a:lnTo>
                    <a:pt x="2657" y="2843"/>
                  </a:lnTo>
                  <a:lnTo>
                    <a:pt x="2672" y="2909"/>
                  </a:lnTo>
                  <a:lnTo>
                    <a:pt x="2688" y="2981"/>
                  </a:lnTo>
                  <a:lnTo>
                    <a:pt x="2709" y="3057"/>
                  </a:lnTo>
                  <a:lnTo>
                    <a:pt x="2688" y="3159"/>
                  </a:lnTo>
                  <a:lnTo>
                    <a:pt x="2667" y="3260"/>
                  </a:lnTo>
                  <a:lnTo>
                    <a:pt x="2649" y="3360"/>
                  </a:lnTo>
                  <a:lnTo>
                    <a:pt x="2634" y="3456"/>
                  </a:lnTo>
                  <a:lnTo>
                    <a:pt x="2631" y="3491"/>
                  </a:lnTo>
                  <a:lnTo>
                    <a:pt x="2634" y="3527"/>
                  </a:lnTo>
                  <a:lnTo>
                    <a:pt x="2642" y="3560"/>
                  </a:lnTo>
                  <a:lnTo>
                    <a:pt x="1390" y="3560"/>
                  </a:lnTo>
                  <a:lnTo>
                    <a:pt x="1363" y="3557"/>
                  </a:lnTo>
                  <a:lnTo>
                    <a:pt x="1338" y="3546"/>
                  </a:lnTo>
                  <a:lnTo>
                    <a:pt x="1315" y="3531"/>
                  </a:lnTo>
                  <a:lnTo>
                    <a:pt x="1297" y="3509"/>
                  </a:lnTo>
                  <a:lnTo>
                    <a:pt x="1285" y="3483"/>
                  </a:lnTo>
                  <a:lnTo>
                    <a:pt x="1279" y="3456"/>
                  </a:lnTo>
                  <a:lnTo>
                    <a:pt x="1281" y="3429"/>
                  </a:lnTo>
                  <a:lnTo>
                    <a:pt x="1290" y="3402"/>
                  </a:lnTo>
                  <a:lnTo>
                    <a:pt x="1327" y="3317"/>
                  </a:lnTo>
                  <a:lnTo>
                    <a:pt x="1360" y="3230"/>
                  </a:lnTo>
                  <a:lnTo>
                    <a:pt x="1389" y="3146"/>
                  </a:lnTo>
                  <a:lnTo>
                    <a:pt x="1414" y="3065"/>
                  </a:lnTo>
                  <a:lnTo>
                    <a:pt x="1435" y="2987"/>
                  </a:lnTo>
                  <a:lnTo>
                    <a:pt x="1453" y="2913"/>
                  </a:lnTo>
                  <a:lnTo>
                    <a:pt x="1468" y="2846"/>
                  </a:lnTo>
                  <a:lnTo>
                    <a:pt x="1480" y="2784"/>
                  </a:lnTo>
                  <a:lnTo>
                    <a:pt x="1491" y="2730"/>
                  </a:lnTo>
                  <a:lnTo>
                    <a:pt x="110" y="2730"/>
                  </a:lnTo>
                  <a:lnTo>
                    <a:pt x="80" y="2727"/>
                  </a:lnTo>
                  <a:lnTo>
                    <a:pt x="55" y="2715"/>
                  </a:lnTo>
                  <a:lnTo>
                    <a:pt x="32" y="2699"/>
                  </a:lnTo>
                  <a:lnTo>
                    <a:pt x="14" y="2676"/>
                  </a:lnTo>
                  <a:lnTo>
                    <a:pt x="4" y="2649"/>
                  </a:lnTo>
                  <a:lnTo>
                    <a:pt x="0" y="2619"/>
                  </a:lnTo>
                  <a:lnTo>
                    <a:pt x="0" y="111"/>
                  </a:lnTo>
                  <a:lnTo>
                    <a:pt x="4" y="83"/>
                  </a:lnTo>
                  <a:lnTo>
                    <a:pt x="14" y="56"/>
                  </a:lnTo>
                  <a:lnTo>
                    <a:pt x="32" y="33"/>
                  </a:lnTo>
                  <a:lnTo>
                    <a:pt x="55" y="15"/>
                  </a:lnTo>
                  <a:lnTo>
                    <a:pt x="80" y="5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1144">
              <a:extLst>
                <a:ext uri="{FF2B5EF4-FFF2-40B4-BE49-F238E27FC236}">
                  <a16:creationId xmlns:a16="http://schemas.microsoft.com/office/drawing/2014/main" id="{29B5B25F-5019-D981-34AD-475AE6A7C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" y="-1933"/>
              <a:ext cx="1291" cy="541"/>
            </a:xfrm>
            <a:custGeom>
              <a:avLst/>
              <a:gdLst>
                <a:gd name="T0" fmla="*/ 1506 w 2580"/>
                <a:gd name="T1" fmla="*/ 0 h 1083"/>
                <a:gd name="T2" fmla="*/ 1528 w 2580"/>
                <a:gd name="T3" fmla="*/ 1 h 1083"/>
                <a:gd name="T4" fmla="*/ 1549 w 2580"/>
                <a:gd name="T5" fmla="*/ 10 h 1083"/>
                <a:gd name="T6" fmla="*/ 1566 w 2580"/>
                <a:gd name="T7" fmla="*/ 22 h 1083"/>
                <a:gd name="T8" fmla="*/ 1579 w 2580"/>
                <a:gd name="T9" fmla="*/ 40 h 1083"/>
                <a:gd name="T10" fmla="*/ 1859 w 2580"/>
                <a:gd name="T11" fmla="*/ 514 h 1083"/>
                <a:gd name="T12" fmla="*/ 1859 w 2580"/>
                <a:gd name="T13" fmla="*/ 514 h 1083"/>
                <a:gd name="T14" fmla="*/ 2496 w 2580"/>
                <a:gd name="T15" fmla="*/ 514 h 1083"/>
                <a:gd name="T16" fmla="*/ 2523 w 2580"/>
                <a:gd name="T17" fmla="*/ 519 h 1083"/>
                <a:gd name="T18" fmla="*/ 2546 w 2580"/>
                <a:gd name="T19" fmla="*/ 531 h 1083"/>
                <a:gd name="T20" fmla="*/ 2564 w 2580"/>
                <a:gd name="T21" fmla="*/ 549 h 1083"/>
                <a:gd name="T22" fmla="*/ 2576 w 2580"/>
                <a:gd name="T23" fmla="*/ 571 h 1083"/>
                <a:gd name="T24" fmla="*/ 2580 w 2580"/>
                <a:gd name="T25" fmla="*/ 598 h 1083"/>
                <a:gd name="T26" fmla="*/ 2576 w 2580"/>
                <a:gd name="T27" fmla="*/ 624 h 1083"/>
                <a:gd name="T28" fmla="*/ 2564 w 2580"/>
                <a:gd name="T29" fmla="*/ 646 h 1083"/>
                <a:gd name="T30" fmla="*/ 2546 w 2580"/>
                <a:gd name="T31" fmla="*/ 664 h 1083"/>
                <a:gd name="T32" fmla="*/ 2523 w 2580"/>
                <a:gd name="T33" fmla="*/ 676 h 1083"/>
                <a:gd name="T34" fmla="*/ 2496 w 2580"/>
                <a:gd name="T35" fmla="*/ 681 h 1083"/>
                <a:gd name="T36" fmla="*/ 1811 w 2580"/>
                <a:gd name="T37" fmla="*/ 681 h 1083"/>
                <a:gd name="T38" fmla="*/ 1789 w 2580"/>
                <a:gd name="T39" fmla="*/ 678 h 1083"/>
                <a:gd name="T40" fmla="*/ 1769 w 2580"/>
                <a:gd name="T41" fmla="*/ 670 h 1083"/>
                <a:gd name="T42" fmla="*/ 1753 w 2580"/>
                <a:gd name="T43" fmla="*/ 657 h 1083"/>
                <a:gd name="T44" fmla="*/ 1739 w 2580"/>
                <a:gd name="T45" fmla="*/ 640 h 1083"/>
                <a:gd name="T46" fmla="*/ 1513 w 2580"/>
                <a:gd name="T47" fmla="*/ 255 h 1083"/>
                <a:gd name="T48" fmla="*/ 1104 w 2580"/>
                <a:gd name="T49" fmla="*/ 1038 h 1083"/>
                <a:gd name="T50" fmla="*/ 1092 w 2580"/>
                <a:gd name="T51" fmla="*/ 1054 h 1083"/>
                <a:gd name="T52" fmla="*/ 1077 w 2580"/>
                <a:gd name="T53" fmla="*/ 1068 h 1083"/>
                <a:gd name="T54" fmla="*/ 1059 w 2580"/>
                <a:gd name="T55" fmla="*/ 1078 h 1083"/>
                <a:gd name="T56" fmla="*/ 1038 w 2580"/>
                <a:gd name="T57" fmla="*/ 1083 h 1083"/>
                <a:gd name="T58" fmla="*/ 1031 w 2580"/>
                <a:gd name="T59" fmla="*/ 1083 h 1083"/>
                <a:gd name="T60" fmla="*/ 1005 w 2580"/>
                <a:gd name="T61" fmla="*/ 1078 h 1083"/>
                <a:gd name="T62" fmla="*/ 984 w 2580"/>
                <a:gd name="T63" fmla="*/ 1068 h 1083"/>
                <a:gd name="T64" fmla="*/ 965 w 2580"/>
                <a:gd name="T65" fmla="*/ 1051 h 1083"/>
                <a:gd name="T66" fmla="*/ 669 w 2580"/>
                <a:gd name="T67" fmla="*/ 681 h 1083"/>
                <a:gd name="T68" fmla="*/ 82 w 2580"/>
                <a:gd name="T69" fmla="*/ 681 h 1083"/>
                <a:gd name="T70" fmla="*/ 56 w 2580"/>
                <a:gd name="T71" fmla="*/ 676 h 1083"/>
                <a:gd name="T72" fmla="*/ 34 w 2580"/>
                <a:gd name="T73" fmla="*/ 664 h 1083"/>
                <a:gd name="T74" fmla="*/ 16 w 2580"/>
                <a:gd name="T75" fmla="*/ 646 h 1083"/>
                <a:gd name="T76" fmla="*/ 4 w 2580"/>
                <a:gd name="T77" fmla="*/ 624 h 1083"/>
                <a:gd name="T78" fmla="*/ 0 w 2580"/>
                <a:gd name="T79" fmla="*/ 598 h 1083"/>
                <a:gd name="T80" fmla="*/ 4 w 2580"/>
                <a:gd name="T81" fmla="*/ 571 h 1083"/>
                <a:gd name="T82" fmla="*/ 16 w 2580"/>
                <a:gd name="T83" fmla="*/ 549 h 1083"/>
                <a:gd name="T84" fmla="*/ 34 w 2580"/>
                <a:gd name="T85" fmla="*/ 531 h 1083"/>
                <a:gd name="T86" fmla="*/ 56 w 2580"/>
                <a:gd name="T87" fmla="*/ 519 h 1083"/>
                <a:gd name="T88" fmla="*/ 82 w 2580"/>
                <a:gd name="T89" fmla="*/ 514 h 1083"/>
                <a:gd name="T90" fmla="*/ 710 w 2580"/>
                <a:gd name="T91" fmla="*/ 514 h 1083"/>
                <a:gd name="T92" fmla="*/ 735 w 2580"/>
                <a:gd name="T93" fmla="*/ 519 h 1083"/>
                <a:gd name="T94" fmla="*/ 756 w 2580"/>
                <a:gd name="T95" fmla="*/ 529 h 1083"/>
                <a:gd name="T96" fmla="*/ 776 w 2580"/>
                <a:gd name="T97" fmla="*/ 546 h 1083"/>
                <a:gd name="T98" fmla="*/ 1016 w 2580"/>
                <a:gd name="T99" fmla="*/ 847 h 1083"/>
                <a:gd name="T100" fmla="*/ 1434 w 2580"/>
                <a:gd name="T101" fmla="*/ 45 h 1083"/>
                <a:gd name="T102" fmla="*/ 1447 w 2580"/>
                <a:gd name="T103" fmla="*/ 27 h 1083"/>
                <a:gd name="T104" fmla="*/ 1464 w 2580"/>
                <a:gd name="T105" fmla="*/ 12 h 1083"/>
                <a:gd name="T106" fmla="*/ 1485 w 2580"/>
                <a:gd name="T107" fmla="*/ 3 h 1083"/>
                <a:gd name="T108" fmla="*/ 1506 w 2580"/>
                <a:gd name="T109" fmla="*/ 0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80" h="1083">
                  <a:moveTo>
                    <a:pt x="1506" y="0"/>
                  </a:moveTo>
                  <a:lnTo>
                    <a:pt x="1528" y="1"/>
                  </a:lnTo>
                  <a:lnTo>
                    <a:pt x="1549" y="10"/>
                  </a:lnTo>
                  <a:lnTo>
                    <a:pt x="1566" y="22"/>
                  </a:lnTo>
                  <a:lnTo>
                    <a:pt x="1579" y="40"/>
                  </a:lnTo>
                  <a:lnTo>
                    <a:pt x="1859" y="514"/>
                  </a:lnTo>
                  <a:lnTo>
                    <a:pt x="1859" y="514"/>
                  </a:lnTo>
                  <a:lnTo>
                    <a:pt x="2496" y="514"/>
                  </a:lnTo>
                  <a:lnTo>
                    <a:pt x="2523" y="519"/>
                  </a:lnTo>
                  <a:lnTo>
                    <a:pt x="2546" y="531"/>
                  </a:lnTo>
                  <a:lnTo>
                    <a:pt x="2564" y="549"/>
                  </a:lnTo>
                  <a:lnTo>
                    <a:pt x="2576" y="571"/>
                  </a:lnTo>
                  <a:lnTo>
                    <a:pt x="2580" y="598"/>
                  </a:lnTo>
                  <a:lnTo>
                    <a:pt x="2576" y="624"/>
                  </a:lnTo>
                  <a:lnTo>
                    <a:pt x="2564" y="646"/>
                  </a:lnTo>
                  <a:lnTo>
                    <a:pt x="2546" y="664"/>
                  </a:lnTo>
                  <a:lnTo>
                    <a:pt x="2523" y="676"/>
                  </a:lnTo>
                  <a:lnTo>
                    <a:pt x="2496" y="681"/>
                  </a:lnTo>
                  <a:lnTo>
                    <a:pt x="1811" y="681"/>
                  </a:lnTo>
                  <a:lnTo>
                    <a:pt x="1789" y="678"/>
                  </a:lnTo>
                  <a:lnTo>
                    <a:pt x="1769" y="670"/>
                  </a:lnTo>
                  <a:lnTo>
                    <a:pt x="1753" y="657"/>
                  </a:lnTo>
                  <a:lnTo>
                    <a:pt x="1739" y="640"/>
                  </a:lnTo>
                  <a:lnTo>
                    <a:pt x="1513" y="255"/>
                  </a:lnTo>
                  <a:lnTo>
                    <a:pt x="1104" y="1038"/>
                  </a:lnTo>
                  <a:lnTo>
                    <a:pt x="1092" y="1054"/>
                  </a:lnTo>
                  <a:lnTo>
                    <a:pt x="1077" y="1068"/>
                  </a:lnTo>
                  <a:lnTo>
                    <a:pt x="1059" y="1078"/>
                  </a:lnTo>
                  <a:lnTo>
                    <a:pt x="1038" y="1083"/>
                  </a:lnTo>
                  <a:lnTo>
                    <a:pt x="1031" y="1083"/>
                  </a:lnTo>
                  <a:lnTo>
                    <a:pt x="1005" y="1078"/>
                  </a:lnTo>
                  <a:lnTo>
                    <a:pt x="984" y="1068"/>
                  </a:lnTo>
                  <a:lnTo>
                    <a:pt x="965" y="1051"/>
                  </a:lnTo>
                  <a:lnTo>
                    <a:pt x="669" y="681"/>
                  </a:lnTo>
                  <a:lnTo>
                    <a:pt x="82" y="681"/>
                  </a:lnTo>
                  <a:lnTo>
                    <a:pt x="56" y="676"/>
                  </a:lnTo>
                  <a:lnTo>
                    <a:pt x="34" y="664"/>
                  </a:lnTo>
                  <a:lnTo>
                    <a:pt x="16" y="646"/>
                  </a:lnTo>
                  <a:lnTo>
                    <a:pt x="4" y="624"/>
                  </a:lnTo>
                  <a:lnTo>
                    <a:pt x="0" y="598"/>
                  </a:lnTo>
                  <a:lnTo>
                    <a:pt x="4" y="571"/>
                  </a:lnTo>
                  <a:lnTo>
                    <a:pt x="16" y="549"/>
                  </a:lnTo>
                  <a:lnTo>
                    <a:pt x="34" y="531"/>
                  </a:lnTo>
                  <a:lnTo>
                    <a:pt x="56" y="519"/>
                  </a:lnTo>
                  <a:lnTo>
                    <a:pt x="82" y="514"/>
                  </a:lnTo>
                  <a:lnTo>
                    <a:pt x="710" y="514"/>
                  </a:lnTo>
                  <a:lnTo>
                    <a:pt x="735" y="519"/>
                  </a:lnTo>
                  <a:lnTo>
                    <a:pt x="756" y="529"/>
                  </a:lnTo>
                  <a:lnTo>
                    <a:pt x="776" y="546"/>
                  </a:lnTo>
                  <a:lnTo>
                    <a:pt x="1016" y="847"/>
                  </a:lnTo>
                  <a:lnTo>
                    <a:pt x="1434" y="45"/>
                  </a:lnTo>
                  <a:lnTo>
                    <a:pt x="1447" y="27"/>
                  </a:lnTo>
                  <a:lnTo>
                    <a:pt x="1464" y="12"/>
                  </a:lnTo>
                  <a:lnTo>
                    <a:pt x="1485" y="3"/>
                  </a:lnTo>
                  <a:lnTo>
                    <a:pt x="150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4" name="Group 1209">
            <a:extLst>
              <a:ext uri="{FF2B5EF4-FFF2-40B4-BE49-F238E27FC236}">
                <a16:creationId xmlns:a16="http://schemas.microsoft.com/office/drawing/2014/main" id="{1FD4BE46-BF6B-6B11-62E1-7AFBFA278D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71832" y="3962147"/>
            <a:ext cx="190957" cy="229845"/>
            <a:chOff x="1311" y="3377"/>
            <a:chExt cx="1920" cy="2311"/>
          </a:xfrm>
          <a:solidFill>
            <a:schemeClr val="bg1"/>
          </a:solidFill>
        </p:grpSpPr>
        <p:sp>
          <p:nvSpPr>
            <p:cNvPr id="55" name="Freeform 1211">
              <a:extLst>
                <a:ext uri="{FF2B5EF4-FFF2-40B4-BE49-F238E27FC236}">
                  <a16:creationId xmlns:a16="http://schemas.microsoft.com/office/drawing/2014/main" id="{08453739-F9AE-B7F9-BB0E-F1161528A8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4" y="3377"/>
              <a:ext cx="1034" cy="1263"/>
            </a:xfrm>
            <a:custGeom>
              <a:avLst/>
              <a:gdLst>
                <a:gd name="T0" fmla="*/ 832 w 2068"/>
                <a:gd name="T1" fmla="*/ 905 h 2526"/>
                <a:gd name="T2" fmla="*/ 626 w 2068"/>
                <a:gd name="T3" fmla="*/ 978 h 2526"/>
                <a:gd name="T4" fmla="*/ 479 w 2068"/>
                <a:gd name="T5" fmla="*/ 1073 h 2526"/>
                <a:gd name="T6" fmla="*/ 378 w 2068"/>
                <a:gd name="T7" fmla="*/ 1159 h 2526"/>
                <a:gd name="T8" fmla="*/ 309 w 2068"/>
                <a:gd name="T9" fmla="*/ 1204 h 2526"/>
                <a:gd name="T10" fmla="*/ 220 w 2068"/>
                <a:gd name="T11" fmla="*/ 1165 h 2526"/>
                <a:gd name="T12" fmla="*/ 161 w 2068"/>
                <a:gd name="T13" fmla="*/ 1082 h 2526"/>
                <a:gd name="T14" fmla="*/ 154 w 2068"/>
                <a:gd name="T15" fmla="*/ 1353 h 2526"/>
                <a:gd name="T16" fmla="*/ 214 w 2068"/>
                <a:gd name="T17" fmla="*/ 1667 h 2526"/>
                <a:gd name="T18" fmla="*/ 329 w 2068"/>
                <a:gd name="T19" fmla="*/ 1909 h 2526"/>
                <a:gd name="T20" fmla="*/ 468 w 2068"/>
                <a:gd name="T21" fmla="*/ 2084 h 2526"/>
                <a:gd name="T22" fmla="*/ 672 w 2068"/>
                <a:gd name="T23" fmla="*/ 2246 h 2526"/>
                <a:gd name="T24" fmla="*/ 881 w 2068"/>
                <a:gd name="T25" fmla="*/ 2346 h 2526"/>
                <a:gd name="T26" fmla="*/ 1034 w 2068"/>
                <a:gd name="T27" fmla="*/ 2375 h 2526"/>
                <a:gd name="T28" fmla="*/ 1188 w 2068"/>
                <a:gd name="T29" fmla="*/ 2346 h 2526"/>
                <a:gd name="T30" fmla="*/ 1397 w 2068"/>
                <a:gd name="T31" fmla="*/ 2246 h 2526"/>
                <a:gd name="T32" fmla="*/ 1599 w 2068"/>
                <a:gd name="T33" fmla="*/ 2084 h 2526"/>
                <a:gd name="T34" fmla="*/ 1738 w 2068"/>
                <a:gd name="T35" fmla="*/ 1909 h 2526"/>
                <a:gd name="T36" fmla="*/ 1855 w 2068"/>
                <a:gd name="T37" fmla="*/ 1667 h 2526"/>
                <a:gd name="T38" fmla="*/ 1915 w 2068"/>
                <a:gd name="T39" fmla="*/ 1353 h 2526"/>
                <a:gd name="T40" fmla="*/ 1908 w 2068"/>
                <a:gd name="T41" fmla="*/ 1082 h 2526"/>
                <a:gd name="T42" fmla="*/ 1849 w 2068"/>
                <a:gd name="T43" fmla="*/ 1165 h 2526"/>
                <a:gd name="T44" fmla="*/ 1759 w 2068"/>
                <a:gd name="T45" fmla="*/ 1204 h 2526"/>
                <a:gd name="T46" fmla="*/ 1690 w 2068"/>
                <a:gd name="T47" fmla="*/ 1159 h 2526"/>
                <a:gd name="T48" fmla="*/ 1589 w 2068"/>
                <a:gd name="T49" fmla="*/ 1073 h 2526"/>
                <a:gd name="T50" fmla="*/ 1443 w 2068"/>
                <a:gd name="T51" fmla="*/ 978 h 2526"/>
                <a:gd name="T52" fmla="*/ 1237 w 2068"/>
                <a:gd name="T53" fmla="*/ 905 h 2526"/>
                <a:gd name="T54" fmla="*/ 998 w 2068"/>
                <a:gd name="T55" fmla="*/ 408 h 2526"/>
                <a:gd name="T56" fmla="*/ 697 w 2068"/>
                <a:gd name="T57" fmla="*/ 461 h 2526"/>
                <a:gd name="T58" fmla="*/ 746 w 2068"/>
                <a:gd name="T59" fmla="*/ 586 h 2526"/>
                <a:gd name="T60" fmla="*/ 908 w 2068"/>
                <a:gd name="T61" fmla="*/ 622 h 2526"/>
                <a:gd name="T62" fmla="*/ 1159 w 2068"/>
                <a:gd name="T63" fmla="*/ 622 h 2526"/>
                <a:gd name="T64" fmla="*/ 1322 w 2068"/>
                <a:gd name="T65" fmla="*/ 586 h 2526"/>
                <a:gd name="T66" fmla="*/ 1372 w 2068"/>
                <a:gd name="T67" fmla="*/ 461 h 2526"/>
                <a:gd name="T68" fmla="*/ 1070 w 2068"/>
                <a:gd name="T69" fmla="*/ 408 h 2526"/>
                <a:gd name="T70" fmla="*/ 1225 w 2068"/>
                <a:gd name="T71" fmla="*/ 8 h 2526"/>
                <a:gd name="T72" fmla="*/ 1536 w 2068"/>
                <a:gd name="T73" fmla="*/ 76 h 2526"/>
                <a:gd name="T74" fmla="*/ 1759 w 2068"/>
                <a:gd name="T75" fmla="*/ 202 h 2526"/>
                <a:gd name="T76" fmla="*/ 1918 w 2068"/>
                <a:gd name="T77" fmla="*/ 391 h 2526"/>
                <a:gd name="T78" fmla="*/ 2022 w 2068"/>
                <a:gd name="T79" fmla="*/ 665 h 2526"/>
                <a:gd name="T80" fmla="*/ 2063 w 2068"/>
                <a:gd name="T81" fmla="*/ 1020 h 2526"/>
                <a:gd name="T82" fmla="*/ 2056 w 2068"/>
                <a:gd name="T83" fmla="*/ 1459 h 2526"/>
                <a:gd name="T84" fmla="*/ 1966 w 2068"/>
                <a:gd name="T85" fmla="*/ 1798 h 2526"/>
                <a:gd name="T86" fmla="*/ 1811 w 2068"/>
                <a:gd name="T87" fmla="*/ 2068 h 2526"/>
                <a:gd name="T88" fmla="*/ 1616 w 2068"/>
                <a:gd name="T89" fmla="*/ 2274 h 2526"/>
                <a:gd name="T90" fmla="*/ 1404 w 2068"/>
                <a:gd name="T91" fmla="*/ 2416 h 2526"/>
                <a:gd name="T92" fmla="*/ 1202 w 2068"/>
                <a:gd name="T93" fmla="*/ 2499 h 2526"/>
                <a:gd name="T94" fmla="*/ 1034 w 2068"/>
                <a:gd name="T95" fmla="*/ 2526 h 2526"/>
                <a:gd name="T96" fmla="*/ 866 w 2068"/>
                <a:gd name="T97" fmla="*/ 2499 h 2526"/>
                <a:gd name="T98" fmla="*/ 664 w 2068"/>
                <a:gd name="T99" fmla="*/ 2416 h 2526"/>
                <a:gd name="T100" fmla="*/ 453 w 2068"/>
                <a:gd name="T101" fmla="*/ 2274 h 2526"/>
                <a:gd name="T102" fmla="*/ 258 w 2068"/>
                <a:gd name="T103" fmla="*/ 2068 h 2526"/>
                <a:gd name="T104" fmla="*/ 102 w 2068"/>
                <a:gd name="T105" fmla="*/ 1798 h 2526"/>
                <a:gd name="T106" fmla="*/ 13 w 2068"/>
                <a:gd name="T107" fmla="*/ 1459 h 2526"/>
                <a:gd name="T108" fmla="*/ 6 w 2068"/>
                <a:gd name="T109" fmla="*/ 1020 h 2526"/>
                <a:gd name="T110" fmla="*/ 47 w 2068"/>
                <a:gd name="T111" fmla="*/ 665 h 2526"/>
                <a:gd name="T112" fmla="*/ 151 w 2068"/>
                <a:gd name="T113" fmla="*/ 391 h 2526"/>
                <a:gd name="T114" fmla="*/ 309 w 2068"/>
                <a:gd name="T115" fmla="*/ 202 h 2526"/>
                <a:gd name="T116" fmla="*/ 533 w 2068"/>
                <a:gd name="T117" fmla="*/ 76 h 2526"/>
                <a:gd name="T118" fmla="*/ 842 w 2068"/>
                <a:gd name="T119" fmla="*/ 8 h 2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68" h="2526">
                  <a:moveTo>
                    <a:pt x="1034" y="885"/>
                  </a:moveTo>
                  <a:lnTo>
                    <a:pt x="961" y="888"/>
                  </a:lnTo>
                  <a:lnTo>
                    <a:pt x="894" y="895"/>
                  </a:lnTo>
                  <a:lnTo>
                    <a:pt x="832" y="905"/>
                  </a:lnTo>
                  <a:lnTo>
                    <a:pt x="774" y="919"/>
                  </a:lnTo>
                  <a:lnTo>
                    <a:pt x="721" y="937"/>
                  </a:lnTo>
                  <a:lnTo>
                    <a:pt x="671" y="957"/>
                  </a:lnTo>
                  <a:lnTo>
                    <a:pt x="626" y="978"/>
                  </a:lnTo>
                  <a:lnTo>
                    <a:pt x="583" y="1000"/>
                  </a:lnTo>
                  <a:lnTo>
                    <a:pt x="546" y="1024"/>
                  </a:lnTo>
                  <a:lnTo>
                    <a:pt x="510" y="1049"/>
                  </a:lnTo>
                  <a:lnTo>
                    <a:pt x="479" y="1073"/>
                  </a:lnTo>
                  <a:lnTo>
                    <a:pt x="450" y="1097"/>
                  </a:lnTo>
                  <a:lnTo>
                    <a:pt x="423" y="1120"/>
                  </a:lnTo>
                  <a:lnTo>
                    <a:pt x="399" y="1141"/>
                  </a:lnTo>
                  <a:lnTo>
                    <a:pt x="378" y="1159"/>
                  </a:lnTo>
                  <a:lnTo>
                    <a:pt x="359" y="1176"/>
                  </a:lnTo>
                  <a:lnTo>
                    <a:pt x="340" y="1189"/>
                  </a:lnTo>
                  <a:lnTo>
                    <a:pt x="324" y="1199"/>
                  </a:lnTo>
                  <a:lnTo>
                    <a:pt x="309" y="1204"/>
                  </a:lnTo>
                  <a:lnTo>
                    <a:pt x="295" y="1204"/>
                  </a:lnTo>
                  <a:lnTo>
                    <a:pt x="267" y="1197"/>
                  </a:lnTo>
                  <a:lnTo>
                    <a:pt x="242" y="1183"/>
                  </a:lnTo>
                  <a:lnTo>
                    <a:pt x="220" y="1165"/>
                  </a:lnTo>
                  <a:lnTo>
                    <a:pt x="200" y="1144"/>
                  </a:lnTo>
                  <a:lnTo>
                    <a:pt x="183" y="1121"/>
                  </a:lnTo>
                  <a:lnTo>
                    <a:pt x="170" y="1100"/>
                  </a:lnTo>
                  <a:lnTo>
                    <a:pt x="161" y="1082"/>
                  </a:lnTo>
                  <a:lnTo>
                    <a:pt x="154" y="1069"/>
                  </a:lnTo>
                  <a:lnTo>
                    <a:pt x="152" y="1165"/>
                  </a:lnTo>
                  <a:lnTo>
                    <a:pt x="151" y="1262"/>
                  </a:lnTo>
                  <a:lnTo>
                    <a:pt x="154" y="1353"/>
                  </a:lnTo>
                  <a:lnTo>
                    <a:pt x="162" y="1439"/>
                  </a:lnTo>
                  <a:lnTo>
                    <a:pt x="175" y="1519"/>
                  </a:lnTo>
                  <a:lnTo>
                    <a:pt x="193" y="1595"/>
                  </a:lnTo>
                  <a:lnTo>
                    <a:pt x="214" y="1667"/>
                  </a:lnTo>
                  <a:lnTo>
                    <a:pt x="239" y="1735"/>
                  </a:lnTo>
                  <a:lnTo>
                    <a:pt x="267" y="1797"/>
                  </a:lnTo>
                  <a:lnTo>
                    <a:pt x="297" y="1856"/>
                  </a:lnTo>
                  <a:lnTo>
                    <a:pt x="329" y="1909"/>
                  </a:lnTo>
                  <a:lnTo>
                    <a:pt x="363" y="1959"/>
                  </a:lnTo>
                  <a:lnTo>
                    <a:pt x="398" y="2005"/>
                  </a:lnTo>
                  <a:lnTo>
                    <a:pt x="433" y="2046"/>
                  </a:lnTo>
                  <a:lnTo>
                    <a:pt x="468" y="2084"/>
                  </a:lnTo>
                  <a:lnTo>
                    <a:pt x="503" y="2118"/>
                  </a:lnTo>
                  <a:lnTo>
                    <a:pt x="560" y="2165"/>
                  </a:lnTo>
                  <a:lnTo>
                    <a:pt x="616" y="2209"/>
                  </a:lnTo>
                  <a:lnTo>
                    <a:pt x="672" y="2246"/>
                  </a:lnTo>
                  <a:lnTo>
                    <a:pt x="727" y="2278"/>
                  </a:lnTo>
                  <a:lnTo>
                    <a:pt x="780" y="2305"/>
                  </a:lnTo>
                  <a:lnTo>
                    <a:pt x="832" y="2327"/>
                  </a:lnTo>
                  <a:lnTo>
                    <a:pt x="881" y="2346"/>
                  </a:lnTo>
                  <a:lnTo>
                    <a:pt x="926" y="2358"/>
                  </a:lnTo>
                  <a:lnTo>
                    <a:pt x="967" y="2368"/>
                  </a:lnTo>
                  <a:lnTo>
                    <a:pt x="1003" y="2372"/>
                  </a:lnTo>
                  <a:lnTo>
                    <a:pt x="1034" y="2375"/>
                  </a:lnTo>
                  <a:lnTo>
                    <a:pt x="1065" y="2372"/>
                  </a:lnTo>
                  <a:lnTo>
                    <a:pt x="1100" y="2368"/>
                  </a:lnTo>
                  <a:lnTo>
                    <a:pt x="1143" y="2358"/>
                  </a:lnTo>
                  <a:lnTo>
                    <a:pt x="1188" y="2346"/>
                  </a:lnTo>
                  <a:lnTo>
                    <a:pt x="1235" y="2327"/>
                  </a:lnTo>
                  <a:lnTo>
                    <a:pt x="1287" y="2305"/>
                  </a:lnTo>
                  <a:lnTo>
                    <a:pt x="1341" y="2278"/>
                  </a:lnTo>
                  <a:lnTo>
                    <a:pt x="1397" y="2246"/>
                  </a:lnTo>
                  <a:lnTo>
                    <a:pt x="1453" y="2209"/>
                  </a:lnTo>
                  <a:lnTo>
                    <a:pt x="1509" y="2165"/>
                  </a:lnTo>
                  <a:lnTo>
                    <a:pt x="1564" y="2118"/>
                  </a:lnTo>
                  <a:lnTo>
                    <a:pt x="1599" y="2084"/>
                  </a:lnTo>
                  <a:lnTo>
                    <a:pt x="1634" y="2046"/>
                  </a:lnTo>
                  <a:lnTo>
                    <a:pt x="1669" y="2005"/>
                  </a:lnTo>
                  <a:lnTo>
                    <a:pt x="1704" y="1959"/>
                  </a:lnTo>
                  <a:lnTo>
                    <a:pt x="1738" y="1909"/>
                  </a:lnTo>
                  <a:lnTo>
                    <a:pt x="1771" y="1856"/>
                  </a:lnTo>
                  <a:lnTo>
                    <a:pt x="1801" y="1797"/>
                  </a:lnTo>
                  <a:lnTo>
                    <a:pt x="1830" y="1735"/>
                  </a:lnTo>
                  <a:lnTo>
                    <a:pt x="1855" y="1667"/>
                  </a:lnTo>
                  <a:lnTo>
                    <a:pt x="1876" y="1595"/>
                  </a:lnTo>
                  <a:lnTo>
                    <a:pt x="1893" y="1519"/>
                  </a:lnTo>
                  <a:lnTo>
                    <a:pt x="1907" y="1439"/>
                  </a:lnTo>
                  <a:lnTo>
                    <a:pt x="1915" y="1353"/>
                  </a:lnTo>
                  <a:lnTo>
                    <a:pt x="1918" y="1262"/>
                  </a:lnTo>
                  <a:lnTo>
                    <a:pt x="1917" y="1165"/>
                  </a:lnTo>
                  <a:lnTo>
                    <a:pt x="1914" y="1069"/>
                  </a:lnTo>
                  <a:lnTo>
                    <a:pt x="1908" y="1082"/>
                  </a:lnTo>
                  <a:lnTo>
                    <a:pt x="1898" y="1100"/>
                  </a:lnTo>
                  <a:lnTo>
                    <a:pt x="1886" y="1121"/>
                  </a:lnTo>
                  <a:lnTo>
                    <a:pt x="1869" y="1144"/>
                  </a:lnTo>
                  <a:lnTo>
                    <a:pt x="1849" y="1165"/>
                  </a:lnTo>
                  <a:lnTo>
                    <a:pt x="1827" y="1183"/>
                  </a:lnTo>
                  <a:lnTo>
                    <a:pt x="1801" y="1197"/>
                  </a:lnTo>
                  <a:lnTo>
                    <a:pt x="1773" y="1204"/>
                  </a:lnTo>
                  <a:lnTo>
                    <a:pt x="1759" y="1204"/>
                  </a:lnTo>
                  <a:lnTo>
                    <a:pt x="1744" y="1199"/>
                  </a:lnTo>
                  <a:lnTo>
                    <a:pt x="1728" y="1189"/>
                  </a:lnTo>
                  <a:lnTo>
                    <a:pt x="1710" y="1176"/>
                  </a:lnTo>
                  <a:lnTo>
                    <a:pt x="1690" y="1159"/>
                  </a:lnTo>
                  <a:lnTo>
                    <a:pt x="1668" y="1141"/>
                  </a:lnTo>
                  <a:lnTo>
                    <a:pt x="1644" y="1120"/>
                  </a:lnTo>
                  <a:lnTo>
                    <a:pt x="1619" y="1097"/>
                  </a:lnTo>
                  <a:lnTo>
                    <a:pt x="1589" y="1073"/>
                  </a:lnTo>
                  <a:lnTo>
                    <a:pt x="1557" y="1049"/>
                  </a:lnTo>
                  <a:lnTo>
                    <a:pt x="1522" y="1024"/>
                  </a:lnTo>
                  <a:lnTo>
                    <a:pt x="1484" y="1000"/>
                  </a:lnTo>
                  <a:lnTo>
                    <a:pt x="1443" y="978"/>
                  </a:lnTo>
                  <a:lnTo>
                    <a:pt x="1397" y="957"/>
                  </a:lnTo>
                  <a:lnTo>
                    <a:pt x="1348" y="937"/>
                  </a:lnTo>
                  <a:lnTo>
                    <a:pt x="1294" y="919"/>
                  </a:lnTo>
                  <a:lnTo>
                    <a:pt x="1237" y="905"/>
                  </a:lnTo>
                  <a:lnTo>
                    <a:pt x="1173" y="895"/>
                  </a:lnTo>
                  <a:lnTo>
                    <a:pt x="1106" y="888"/>
                  </a:lnTo>
                  <a:lnTo>
                    <a:pt x="1034" y="885"/>
                  </a:lnTo>
                  <a:close/>
                  <a:moveTo>
                    <a:pt x="998" y="408"/>
                  </a:moveTo>
                  <a:lnTo>
                    <a:pt x="926" y="413"/>
                  </a:lnTo>
                  <a:lnTo>
                    <a:pt x="852" y="423"/>
                  </a:lnTo>
                  <a:lnTo>
                    <a:pt x="776" y="440"/>
                  </a:lnTo>
                  <a:lnTo>
                    <a:pt x="697" y="461"/>
                  </a:lnTo>
                  <a:lnTo>
                    <a:pt x="710" y="498"/>
                  </a:lnTo>
                  <a:lnTo>
                    <a:pt x="723" y="529"/>
                  </a:lnTo>
                  <a:lnTo>
                    <a:pt x="734" y="557"/>
                  </a:lnTo>
                  <a:lnTo>
                    <a:pt x="746" y="586"/>
                  </a:lnTo>
                  <a:lnTo>
                    <a:pt x="758" y="617"/>
                  </a:lnTo>
                  <a:lnTo>
                    <a:pt x="772" y="653"/>
                  </a:lnTo>
                  <a:lnTo>
                    <a:pt x="842" y="634"/>
                  </a:lnTo>
                  <a:lnTo>
                    <a:pt x="908" y="622"/>
                  </a:lnTo>
                  <a:lnTo>
                    <a:pt x="973" y="613"/>
                  </a:lnTo>
                  <a:lnTo>
                    <a:pt x="1034" y="612"/>
                  </a:lnTo>
                  <a:lnTo>
                    <a:pt x="1096" y="613"/>
                  </a:lnTo>
                  <a:lnTo>
                    <a:pt x="1159" y="622"/>
                  </a:lnTo>
                  <a:lnTo>
                    <a:pt x="1225" y="634"/>
                  </a:lnTo>
                  <a:lnTo>
                    <a:pt x="1296" y="653"/>
                  </a:lnTo>
                  <a:lnTo>
                    <a:pt x="1310" y="617"/>
                  </a:lnTo>
                  <a:lnTo>
                    <a:pt x="1322" y="586"/>
                  </a:lnTo>
                  <a:lnTo>
                    <a:pt x="1334" y="557"/>
                  </a:lnTo>
                  <a:lnTo>
                    <a:pt x="1345" y="529"/>
                  </a:lnTo>
                  <a:lnTo>
                    <a:pt x="1357" y="498"/>
                  </a:lnTo>
                  <a:lnTo>
                    <a:pt x="1372" y="461"/>
                  </a:lnTo>
                  <a:lnTo>
                    <a:pt x="1293" y="440"/>
                  </a:lnTo>
                  <a:lnTo>
                    <a:pt x="1217" y="423"/>
                  </a:lnTo>
                  <a:lnTo>
                    <a:pt x="1143" y="413"/>
                  </a:lnTo>
                  <a:lnTo>
                    <a:pt x="1070" y="408"/>
                  </a:lnTo>
                  <a:lnTo>
                    <a:pt x="998" y="408"/>
                  </a:lnTo>
                  <a:close/>
                  <a:moveTo>
                    <a:pt x="1034" y="0"/>
                  </a:moveTo>
                  <a:lnTo>
                    <a:pt x="1133" y="1"/>
                  </a:lnTo>
                  <a:lnTo>
                    <a:pt x="1225" y="8"/>
                  </a:lnTo>
                  <a:lnTo>
                    <a:pt x="1313" y="19"/>
                  </a:lnTo>
                  <a:lnTo>
                    <a:pt x="1393" y="33"/>
                  </a:lnTo>
                  <a:lnTo>
                    <a:pt x="1467" y="53"/>
                  </a:lnTo>
                  <a:lnTo>
                    <a:pt x="1536" y="76"/>
                  </a:lnTo>
                  <a:lnTo>
                    <a:pt x="1599" y="101"/>
                  </a:lnTo>
                  <a:lnTo>
                    <a:pt x="1657" y="132"/>
                  </a:lnTo>
                  <a:lnTo>
                    <a:pt x="1710" y="166"/>
                  </a:lnTo>
                  <a:lnTo>
                    <a:pt x="1759" y="202"/>
                  </a:lnTo>
                  <a:lnTo>
                    <a:pt x="1803" y="242"/>
                  </a:lnTo>
                  <a:lnTo>
                    <a:pt x="1844" y="285"/>
                  </a:lnTo>
                  <a:lnTo>
                    <a:pt x="1879" y="332"/>
                  </a:lnTo>
                  <a:lnTo>
                    <a:pt x="1918" y="391"/>
                  </a:lnTo>
                  <a:lnTo>
                    <a:pt x="1952" y="454"/>
                  </a:lnTo>
                  <a:lnTo>
                    <a:pt x="1980" y="520"/>
                  </a:lnTo>
                  <a:lnTo>
                    <a:pt x="2004" y="591"/>
                  </a:lnTo>
                  <a:lnTo>
                    <a:pt x="2022" y="665"/>
                  </a:lnTo>
                  <a:lnTo>
                    <a:pt x="2036" y="743"/>
                  </a:lnTo>
                  <a:lnTo>
                    <a:pt x="2047" y="821"/>
                  </a:lnTo>
                  <a:lnTo>
                    <a:pt x="2054" y="905"/>
                  </a:lnTo>
                  <a:lnTo>
                    <a:pt x="2063" y="1020"/>
                  </a:lnTo>
                  <a:lnTo>
                    <a:pt x="2067" y="1140"/>
                  </a:lnTo>
                  <a:lnTo>
                    <a:pt x="2068" y="1262"/>
                  </a:lnTo>
                  <a:lnTo>
                    <a:pt x="2066" y="1363"/>
                  </a:lnTo>
                  <a:lnTo>
                    <a:pt x="2056" y="1459"/>
                  </a:lnTo>
                  <a:lnTo>
                    <a:pt x="2040" y="1550"/>
                  </a:lnTo>
                  <a:lnTo>
                    <a:pt x="2021" y="1638"/>
                  </a:lnTo>
                  <a:lnTo>
                    <a:pt x="1995" y="1719"/>
                  </a:lnTo>
                  <a:lnTo>
                    <a:pt x="1966" y="1798"/>
                  </a:lnTo>
                  <a:lnTo>
                    <a:pt x="1932" y="1873"/>
                  </a:lnTo>
                  <a:lnTo>
                    <a:pt x="1896" y="1942"/>
                  </a:lnTo>
                  <a:lnTo>
                    <a:pt x="1855" y="2008"/>
                  </a:lnTo>
                  <a:lnTo>
                    <a:pt x="1811" y="2068"/>
                  </a:lnTo>
                  <a:lnTo>
                    <a:pt x="1765" y="2126"/>
                  </a:lnTo>
                  <a:lnTo>
                    <a:pt x="1717" y="2179"/>
                  </a:lnTo>
                  <a:lnTo>
                    <a:pt x="1667" y="2229"/>
                  </a:lnTo>
                  <a:lnTo>
                    <a:pt x="1616" y="2274"/>
                  </a:lnTo>
                  <a:lnTo>
                    <a:pt x="1563" y="2315"/>
                  </a:lnTo>
                  <a:lnTo>
                    <a:pt x="1511" y="2353"/>
                  </a:lnTo>
                  <a:lnTo>
                    <a:pt x="1457" y="2385"/>
                  </a:lnTo>
                  <a:lnTo>
                    <a:pt x="1404" y="2416"/>
                  </a:lnTo>
                  <a:lnTo>
                    <a:pt x="1352" y="2441"/>
                  </a:lnTo>
                  <a:lnTo>
                    <a:pt x="1300" y="2464"/>
                  </a:lnTo>
                  <a:lnTo>
                    <a:pt x="1251" y="2483"/>
                  </a:lnTo>
                  <a:lnTo>
                    <a:pt x="1202" y="2499"/>
                  </a:lnTo>
                  <a:lnTo>
                    <a:pt x="1155" y="2510"/>
                  </a:lnTo>
                  <a:lnTo>
                    <a:pt x="1112" y="2519"/>
                  </a:lnTo>
                  <a:lnTo>
                    <a:pt x="1071" y="2524"/>
                  </a:lnTo>
                  <a:lnTo>
                    <a:pt x="1034" y="2526"/>
                  </a:lnTo>
                  <a:lnTo>
                    <a:pt x="996" y="2524"/>
                  </a:lnTo>
                  <a:lnTo>
                    <a:pt x="956" y="2519"/>
                  </a:lnTo>
                  <a:lnTo>
                    <a:pt x="912" y="2510"/>
                  </a:lnTo>
                  <a:lnTo>
                    <a:pt x="866" y="2499"/>
                  </a:lnTo>
                  <a:lnTo>
                    <a:pt x="818" y="2483"/>
                  </a:lnTo>
                  <a:lnTo>
                    <a:pt x="767" y="2464"/>
                  </a:lnTo>
                  <a:lnTo>
                    <a:pt x="717" y="2441"/>
                  </a:lnTo>
                  <a:lnTo>
                    <a:pt x="664" y="2416"/>
                  </a:lnTo>
                  <a:lnTo>
                    <a:pt x="612" y="2385"/>
                  </a:lnTo>
                  <a:lnTo>
                    <a:pt x="558" y="2353"/>
                  </a:lnTo>
                  <a:lnTo>
                    <a:pt x="505" y="2315"/>
                  </a:lnTo>
                  <a:lnTo>
                    <a:pt x="453" y="2274"/>
                  </a:lnTo>
                  <a:lnTo>
                    <a:pt x="401" y="2229"/>
                  </a:lnTo>
                  <a:lnTo>
                    <a:pt x="352" y="2179"/>
                  </a:lnTo>
                  <a:lnTo>
                    <a:pt x="304" y="2126"/>
                  </a:lnTo>
                  <a:lnTo>
                    <a:pt x="258" y="2068"/>
                  </a:lnTo>
                  <a:lnTo>
                    <a:pt x="214" y="2008"/>
                  </a:lnTo>
                  <a:lnTo>
                    <a:pt x="173" y="1942"/>
                  </a:lnTo>
                  <a:lnTo>
                    <a:pt x="135" y="1873"/>
                  </a:lnTo>
                  <a:lnTo>
                    <a:pt x="102" y="1798"/>
                  </a:lnTo>
                  <a:lnTo>
                    <a:pt x="72" y="1719"/>
                  </a:lnTo>
                  <a:lnTo>
                    <a:pt x="48" y="1638"/>
                  </a:lnTo>
                  <a:lnTo>
                    <a:pt x="27" y="1550"/>
                  </a:lnTo>
                  <a:lnTo>
                    <a:pt x="13" y="1459"/>
                  </a:lnTo>
                  <a:lnTo>
                    <a:pt x="3" y="1363"/>
                  </a:lnTo>
                  <a:lnTo>
                    <a:pt x="0" y="1262"/>
                  </a:lnTo>
                  <a:lnTo>
                    <a:pt x="2" y="1140"/>
                  </a:lnTo>
                  <a:lnTo>
                    <a:pt x="6" y="1020"/>
                  </a:lnTo>
                  <a:lnTo>
                    <a:pt x="13" y="905"/>
                  </a:lnTo>
                  <a:lnTo>
                    <a:pt x="22" y="821"/>
                  </a:lnTo>
                  <a:lnTo>
                    <a:pt x="31" y="743"/>
                  </a:lnTo>
                  <a:lnTo>
                    <a:pt x="47" y="665"/>
                  </a:lnTo>
                  <a:lnTo>
                    <a:pt x="65" y="591"/>
                  </a:lnTo>
                  <a:lnTo>
                    <a:pt x="89" y="520"/>
                  </a:lnTo>
                  <a:lnTo>
                    <a:pt x="117" y="454"/>
                  </a:lnTo>
                  <a:lnTo>
                    <a:pt x="151" y="391"/>
                  </a:lnTo>
                  <a:lnTo>
                    <a:pt x="190" y="332"/>
                  </a:lnTo>
                  <a:lnTo>
                    <a:pt x="225" y="285"/>
                  </a:lnTo>
                  <a:lnTo>
                    <a:pt x="265" y="242"/>
                  </a:lnTo>
                  <a:lnTo>
                    <a:pt x="309" y="202"/>
                  </a:lnTo>
                  <a:lnTo>
                    <a:pt x="357" y="166"/>
                  </a:lnTo>
                  <a:lnTo>
                    <a:pt x="411" y="132"/>
                  </a:lnTo>
                  <a:lnTo>
                    <a:pt x="470" y="101"/>
                  </a:lnTo>
                  <a:lnTo>
                    <a:pt x="533" y="76"/>
                  </a:lnTo>
                  <a:lnTo>
                    <a:pt x="602" y="52"/>
                  </a:lnTo>
                  <a:lnTo>
                    <a:pt x="676" y="33"/>
                  </a:lnTo>
                  <a:lnTo>
                    <a:pt x="756" y="19"/>
                  </a:lnTo>
                  <a:lnTo>
                    <a:pt x="842" y="8"/>
                  </a:lnTo>
                  <a:lnTo>
                    <a:pt x="935" y="1"/>
                  </a:lnTo>
                  <a:lnTo>
                    <a:pt x="10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1212">
              <a:extLst>
                <a:ext uri="{FF2B5EF4-FFF2-40B4-BE49-F238E27FC236}">
                  <a16:creationId xmlns:a16="http://schemas.microsoft.com/office/drawing/2014/main" id="{C9037895-65DB-BD23-1ECE-E584732FB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1" y="4581"/>
              <a:ext cx="1920" cy="926"/>
            </a:xfrm>
            <a:custGeom>
              <a:avLst/>
              <a:gdLst>
                <a:gd name="T0" fmla="*/ 1423 w 3841"/>
                <a:gd name="T1" fmla="*/ 66 h 1852"/>
                <a:gd name="T2" fmla="*/ 1731 w 3841"/>
                <a:gd name="T3" fmla="*/ 198 h 1852"/>
                <a:gd name="T4" fmla="*/ 1920 w 3841"/>
                <a:gd name="T5" fmla="*/ 605 h 1852"/>
                <a:gd name="T6" fmla="*/ 2110 w 3841"/>
                <a:gd name="T7" fmla="*/ 198 h 1852"/>
                <a:gd name="T8" fmla="*/ 2416 w 3841"/>
                <a:gd name="T9" fmla="*/ 66 h 1852"/>
                <a:gd name="T10" fmla="*/ 2547 w 3841"/>
                <a:gd name="T11" fmla="*/ 0 h 1852"/>
                <a:gd name="T12" fmla="*/ 2654 w 3841"/>
                <a:gd name="T13" fmla="*/ 55 h 1852"/>
                <a:gd name="T14" fmla="*/ 2866 w 3841"/>
                <a:gd name="T15" fmla="*/ 169 h 1852"/>
                <a:gd name="T16" fmla="*/ 3100 w 3841"/>
                <a:gd name="T17" fmla="*/ 298 h 1852"/>
                <a:gd name="T18" fmla="*/ 3314 w 3841"/>
                <a:gd name="T19" fmla="*/ 418 h 1852"/>
                <a:gd name="T20" fmla="*/ 3460 w 3841"/>
                <a:gd name="T21" fmla="*/ 509 h 1852"/>
                <a:gd name="T22" fmla="*/ 3612 w 3841"/>
                <a:gd name="T23" fmla="*/ 681 h 1852"/>
                <a:gd name="T24" fmla="*/ 3724 w 3841"/>
                <a:gd name="T25" fmla="*/ 927 h 1852"/>
                <a:gd name="T26" fmla="*/ 3801 w 3841"/>
                <a:gd name="T27" fmla="*/ 1206 h 1852"/>
                <a:gd name="T28" fmla="*/ 3841 w 3841"/>
                <a:gd name="T29" fmla="*/ 1430 h 1852"/>
                <a:gd name="T30" fmla="*/ 3822 w 3841"/>
                <a:gd name="T31" fmla="*/ 1479 h 1852"/>
                <a:gd name="T32" fmla="*/ 3752 w 3841"/>
                <a:gd name="T33" fmla="*/ 1575 h 1852"/>
                <a:gd name="T34" fmla="*/ 3599 w 3841"/>
                <a:gd name="T35" fmla="*/ 1708 h 1852"/>
                <a:gd name="T36" fmla="*/ 3334 w 3841"/>
                <a:gd name="T37" fmla="*/ 1850 h 1852"/>
                <a:gd name="T38" fmla="*/ 3273 w 3841"/>
                <a:gd name="T39" fmla="*/ 1769 h 1852"/>
                <a:gd name="T40" fmla="*/ 3365 w 3841"/>
                <a:gd name="T41" fmla="*/ 1663 h 1852"/>
                <a:gd name="T42" fmla="*/ 3366 w 3841"/>
                <a:gd name="T43" fmla="*/ 1524 h 1852"/>
                <a:gd name="T44" fmla="*/ 3232 w 3841"/>
                <a:gd name="T45" fmla="*/ 1338 h 1852"/>
                <a:gd name="T46" fmla="*/ 3012 w 3841"/>
                <a:gd name="T47" fmla="*/ 1209 h 1852"/>
                <a:gd name="T48" fmla="*/ 2819 w 3841"/>
                <a:gd name="T49" fmla="*/ 1176 h 1852"/>
                <a:gd name="T50" fmla="*/ 2557 w 3841"/>
                <a:gd name="T51" fmla="*/ 1237 h 1852"/>
                <a:gd name="T52" fmla="*/ 2350 w 3841"/>
                <a:gd name="T53" fmla="*/ 1399 h 1852"/>
                <a:gd name="T54" fmla="*/ 1439 w 3841"/>
                <a:gd name="T55" fmla="*/ 1345 h 1852"/>
                <a:gd name="T56" fmla="*/ 1217 w 3841"/>
                <a:gd name="T57" fmla="*/ 1210 h 1852"/>
                <a:gd name="T58" fmla="*/ 954 w 3841"/>
                <a:gd name="T59" fmla="*/ 1181 h 1852"/>
                <a:gd name="T60" fmla="*/ 709 w 3841"/>
                <a:gd name="T61" fmla="*/ 1262 h 1852"/>
                <a:gd name="T62" fmla="*/ 523 w 3841"/>
                <a:gd name="T63" fmla="*/ 1437 h 1852"/>
                <a:gd name="T64" fmla="*/ 462 w 3841"/>
                <a:gd name="T65" fmla="*/ 1596 h 1852"/>
                <a:gd name="T66" fmla="*/ 511 w 3841"/>
                <a:gd name="T67" fmla="*/ 1725 h 1852"/>
                <a:gd name="T68" fmla="*/ 565 w 3841"/>
                <a:gd name="T69" fmla="*/ 1801 h 1852"/>
                <a:gd name="T70" fmla="*/ 358 w 3841"/>
                <a:gd name="T71" fmla="*/ 1780 h 1852"/>
                <a:gd name="T72" fmla="*/ 152 w 3841"/>
                <a:gd name="T73" fmla="*/ 1639 h 1852"/>
                <a:gd name="T74" fmla="*/ 45 w 3841"/>
                <a:gd name="T75" fmla="*/ 1521 h 1852"/>
                <a:gd name="T76" fmla="*/ 6 w 3841"/>
                <a:gd name="T77" fmla="*/ 1454 h 1852"/>
                <a:gd name="T78" fmla="*/ 4 w 3841"/>
                <a:gd name="T79" fmla="*/ 1387 h 1852"/>
                <a:gd name="T80" fmla="*/ 39 w 3841"/>
                <a:gd name="T81" fmla="*/ 1217 h 1852"/>
                <a:gd name="T82" fmla="*/ 104 w 3841"/>
                <a:gd name="T83" fmla="*/ 978 h 1852"/>
                <a:gd name="T84" fmla="*/ 204 w 3841"/>
                <a:gd name="T85" fmla="*/ 733 h 1852"/>
                <a:gd name="T86" fmla="*/ 340 w 3841"/>
                <a:gd name="T87" fmla="*/ 540 h 1852"/>
                <a:gd name="T88" fmla="*/ 483 w 3841"/>
                <a:gd name="T89" fmla="*/ 445 h 1852"/>
                <a:gd name="T90" fmla="*/ 684 w 3841"/>
                <a:gd name="T91" fmla="*/ 329 h 1852"/>
                <a:gd name="T92" fmla="*/ 919 w 3841"/>
                <a:gd name="T93" fmla="*/ 200 h 1852"/>
                <a:gd name="T94" fmla="*/ 1142 w 3841"/>
                <a:gd name="T95" fmla="*/ 79 h 1852"/>
                <a:gd name="T96" fmla="*/ 1294 w 3841"/>
                <a:gd name="T97" fmla="*/ 0 h 1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41" h="1852">
                  <a:moveTo>
                    <a:pt x="1314" y="0"/>
                  </a:moveTo>
                  <a:lnTo>
                    <a:pt x="1335" y="4"/>
                  </a:lnTo>
                  <a:lnTo>
                    <a:pt x="1353" y="14"/>
                  </a:lnTo>
                  <a:lnTo>
                    <a:pt x="1423" y="66"/>
                  </a:lnTo>
                  <a:lnTo>
                    <a:pt x="1498" y="110"/>
                  </a:lnTo>
                  <a:lnTo>
                    <a:pt x="1573" y="146"/>
                  </a:lnTo>
                  <a:lnTo>
                    <a:pt x="1651" y="176"/>
                  </a:lnTo>
                  <a:lnTo>
                    <a:pt x="1731" y="198"/>
                  </a:lnTo>
                  <a:lnTo>
                    <a:pt x="1753" y="207"/>
                  </a:lnTo>
                  <a:lnTo>
                    <a:pt x="1771" y="222"/>
                  </a:lnTo>
                  <a:lnTo>
                    <a:pt x="1783" y="243"/>
                  </a:lnTo>
                  <a:lnTo>
                    <a:pt x="1920" y="605"/>
                  </a:lnTo>
                  <a:lnTo>
                    <a:pt x="2058" y="243"/>
                  </a:lnTo>
                  <a:lnTo>
                    <a:pt x="2069" y="222"/>
                  </a:lnTo>
                  <a:lnTo>
                    <a:pt x="2088" y="207"/>
                  </a:lnTo>
                  <a:lnTo>
                    <a:pt x="2110" y="198"/>
                  </a:lnTo>
                  <a:lnTo>
                    <a:pt x="2189" y="176"/>
                  </a:lnTo>
                  <a:lnTo>
                    <a:pt x="2267" y="146"/>
                  </a:lnTo>
                  <a:lnTo>
                    <a:pt x="2343" y="110"/>
                  </a:lnTo>
                  <a:lnTo>
                    <a:pt x="2416" y="66"/>
                  </a:lnTo>
                  <a:lnTo>
                    <a:pt x="2488" y="14"/>
                  </a:lnTo>
                  <a:lnTo>
                    <a:pt x="2506" y="4"/>
                  </a:lnTo>
                  <a:lnTo>
                    <a:pt x="2526" y="0"/>
                  </a:lnTo>
                  <a:lnTo>
                    <a:pt x="2547" y="0"/>
                  </a:lnTo>
                  <a:lnTo>
                    <a:pt x="2567" y="8"/>
                  </a:lnTo>
                  <a:lnTo>
                    <a:pt x="2571" y="10"/>
                  </a:lnTo>
                  <a:lnTo>
                    <a:pt x="2610" y="31"/>
                  </a:lnTo>
                  <a:lnTo>
                    <a:pt x="2654" y="55"/>
                  </a:lnTo>
                  <a:lnTo>
                    <a:pt x="2703" y="80"/>
                  </a:lnTo>
                  <a:lnTo>
                    <a:pt x="2755" y="108"/>
                  </a:lnTo>
                  <a:lnTo>
                    <a:pt x="2810" y="138"/>
                  </a:lnTo>
                  <a:lnTo>
                    <a:pt x="2866" y="169"/>
                  </a:lnTo>
                  <a:lnTo>
                    <a:pt x="2925" y="201"/>
                  </a:lnTo>
                  <a:lnTo>
                    <a:pt x="2984" y="233"/>
                  </a:lnTo>
                  <a:lnTo>
                    <a:pt x="3043" y="266"/>
                  </a:lnTo>
                  <a:lnTo>
                    <a:pt x="3100" y="298"/>
                  </a:lnTo>
                  <a:lnTo>
                    <a:pt x="3158" y="329"/>
                  </a:lnTo>
                  <a:lnTo>
                    <a:pt x="3213" y="360"/>
                  </a:lnTo>
                  <a:lnTo>
                    <a:pt x="3265" y="390"/>
                  </a:lnTo>
                  <a:lnTo>
                    <a:pt x="3314" y="418"/>
                  </a:lnTo>
                  <a:lnTo>
                    <a:pt x="3358" y="445"/>
                  </a:lnTo>
                  <a:lnTo>
                    <a:pt x="3398" y="469"/>
                  </a:lnTo>
                  <a:lnTo>
                    <a:pt x="3432" y="491"/>
                  </a:lnTo>
                  <a:lnTo>
                    <a:pt x="3460" y="509"/>
                  </a:lnTo>
                  <a:lnTo>
                    <a:pt x="3502" y="543"/>
                  </a:lnTo>
                  <a:lnTo>
                    <a:pt x="3542" y="582"/>
                  </a:lnTo>
                  <a:lnTo>
                    <a:pt x="3578" y="629"/>
                  </a:lnTo>
                  <a:lnTo>
                    <a:pt x="3612" y="681"/>
                  </a:lnTo>
                  <a:lnTo>
                    <a:pt x="3644" y="737"/>
                  </a:lnTo>
                  <a:lnTo>
                    <a:pt x="3672" y="798"/>
                  </a:lnTo>
                  <a:lnTo>
                    <a:pt x="3699" y="861"/>
                  </a:lnTo>
                  <a:lnTo>
                    <a:pt x="3724" y="927"/>
                  </a:lnTo>
                  <a:lnTo>
                    <a:pt x="3747" y="995"/>
                  </a:lnTo>
                  <a:lnTo>
                    <a:pt x="3766" y="1065"/>
                  </a:lnTo>
                  <a:lnTo>
                    <a:pt x="3785" y="1136"/>
                  </a:lnTo>
                  <a:lnTo>
                    <a:pt x="3801" y="1206"/>
                  </a:lnTo>
                  <a:lnTo>
                    <a:pt x="3815" y="1276"/>
                  </a:lnTo>
                  <a:lnTo>
                    <a:pt x="3828" y="1345"/>
                  </a:lnTo>
                  <a:lnTo>
                    <a:pt x="3839" y="1411"/>
                  </a:lnTo>
                  <a:lnTo>
                    <a:pt x="3841" y="1430"/>
                  </a:lnTo>
                  <a:lnTo>
                    <a:pt x="3837" y="1448"/>
                  </a:lnTo>
                  <a:lnTo>
                    <a:pt x="3834" y="1454"/>
                  </a:lnTo>
                  <a:lnTo>
                    <a:pt x="3830" y="1463"/>
                  </a:lnTo>
                  <a:lnTo>
                    <a:pt x="3822" y="1479"/>
                  </a:lnTo>
                  <a:lnTo>
                    <a:pt x="3811" y="1497"/>
                  </a:lnTo>
                  <a:lnTo>
                    <a:pt x="3796" y="1521"/>
                  </a:lnTo>
                  <a:lnTo>
                    <a:pt x="3776" y="1546"/>
                  </a:lnTo>
                  <a:lnTo>
                    <a:pt x="3752" y="1575"/>
                  </a:lnTo>
                  <a:lnTo>
                    <a:pt x="3723" y="1606"/>
                  </a:lnTo>
                  <a:lnTo>
                    <a:pt x="3688" y="1638"/>
                  </a:lnTo>
                  <a:lnTo>
                    <a:pt x="3647" y="1673"/>
                  </a:lnTo>
                  <a:lnTo>
                    <a:pt x="3599" y="1708"/>
                  </a:lnTo>
                  <a:lnTo>
                    <a:pt x="3544" y="1743"/>
                  </a:lnTo>
                  <a:lnTo>
                    <a:pt x="3483" y="1780"/>
                  </a:lnTo>
                  <a:lnTo>
                    <a:pt x="3412" y="1815"/>
                  </a:lnTo>
                  <a:lnTo>
                    <a:pt x="3334" y="1850"/>
                  </a:lnTo>
                  <a:lnTo>
                    <a:pt x="3307" y="1822"/>
                  </a:lnTo>
                  <a:lnTo>
                    <a:pt x="3276" y="1800"/>
                  </a:lnTo>
                  <a:lnTo>
                    <a:pt x="3241" y="1784"/>
                  </a:lnTo>
                  <a:lnTo>
                    <a:pt x="3273" y="1769"/>
                  </a:lnTo>
                  <a:lnTo>
                    <a:pt x="3303" y="1749"/>
                  </a:lnTo>
                  <a:lnTo>
                    <a:pt x="3328" y="1724"/>
                  </a:lnTo>
                  <a:lnTo>
                    <a:pt x="3349" y="1696"/>
                  </a:lnTo>
                  <a:lnTo>
                    <a:pt x="3365" y="1663"/>
                  </a:lnTo>
                  <a:lnTo>
                    <a:pt x="3374" y="1628"/>
                  </a:lnTo>
                  <a:lnTo>
                    <a:pt x="3377" y="1594"/>
                  </a:lnTo>
                  <a:lnTo>
                    <a:pt x="3374" y="1559"/>
                  </a:lnTo>
                  <a:lnTo>
                    <a:pt x="3366" y="1524"/>
                  </a:lnTo>
                  <a:lnTo>
                    <a:pt x="3352" y="1492"/>
                  </a:lnTo>
                  <a:lnTo>
                    <a:pt x="3317" y="1435"/>
                  </a:lnTo>
                  <a:lnTo>
                    <a:pt x="3277" y="1385"/>
                  </a:lnTo>
                  <a:lnTo>
                    <a:pt x="3232" y="1338"/>
                  </a:lnTo>
                  <a:lnTo>
                    <a:pt x="3182" y="1297"/>
                  </a:lnTo>
                  <a:lnTo>
                    <a:pt x="3129" y="1261"/>
                  </a:lnTo>
                  <a:lnTo>
                    <a:pt x="3072" y="1231"/>
                  </a:lnTo>
                  <a:lnTo>
                    <a:pt x="3012" y="1209"/>
                  </a:lnTo>
                  <a:lnTo>
                    <a:pt x="2950" y="1190"/>
                  </a:lnTo>
                  <a:lnTo>
                    <a:pt x="2885" y="1181"/>
                  </a:lnTo>
                  <a:lnTo>
                    <a:pt x="2819" y="1176"/>
                  </a:lnTo>
                  <a:lnTo>
                    <a:pt x="2819" y="1176"/>
                  </a:lnTo>
                  <a:lnTo>
                    <a:pt x="2751" y="1181"/>
                  </a:lnTo>
                  <a:lnTo>
                    <a:pt x="2683" y="1192"/>
                  </a:lnTo>
                  <a:lnTo>
                    <a:pt x="2619" y="1212"/>
                  </a:lnTo>
                  <a:lnTo>
                    <a:pt x="2557" y="1237"/>
                  </a:lnTo>
                  <a:lnTo>
                    <a:pt x="2498" y="1269"/>
                  </a:lnTo>
                  <a:lnTo>
                    <a:pt x="2442" y="1309"/>
                  </a:lnTo>
                  <a:lnTo>
                    <a:pt x="2391" y="1355"/>
                  </a:lnTo>
                  <a:lnTo>
                    <a:pt x="2350" y="1399"/>
                  </a:lnTo>
                  <a:lnTo>
                    <a:pt x="2317" y="1447"/>
                  </a:lnTo>
                  <a:lnTo>
                    <a:pt x="1524" y="1447"/>
                  </a:lnTo>
                  <a:lnTo>
                    <a:pt x="1483" y="1393"/>
                  </a:lnTo>
                  <a:lnTo>
                    <a:pt x="1439" y="1345"/>
                  </a:lnTo>
                  <a:lnTo>
                    <a:pt x="1389" y="1303"/>
                  </a:lnTo>
                  <a:lnTo>
                    <a:pt x="1336" y="1265"/>
                  </a:lnTo>
                  <a:lnTo>
                    <a:pt x="1278" y="1234"/>
                  </a:lnTo>
                  <a:lnTo>
                    <a:pt x="1217" y="1210"/>
                  </a:lnTo>
                  <a:lnTo>
                    <a:pt x="1153" y="1192"/>
                  </a:lnTo>
                  <a:lnTo>
                    <a:pt x="1087" y="1181"/>
                  </a:lnTo>
                  <a:lnTo>
                    <a:pt x="1020" y="1176"/>
                  </a:lnTo>
                  <a:lnTo>
                    <a:pt x="954" y="1181"/>
                  </a:lnTo>
                  <a:lnTo>
                    <a:pt x="889" y="1190"/>
                  </a:lnTo>
                  <a:lnTo>
                    <a:pt x="826" y="1209"/>
                  </a:lnTo>
                  <a:lnTo>
                    <a:pt x="767" y="1233"/>
                  </a:lnTo>
                  <a:lnTo>
                    <a:pt x="709" y="1262"/>
                  </a:lnTo>
                  <a:lnTo>
                    <a:pt x="656" y="1297"/>
                  </a:lnTo>
                  <a:lnTo>
                    <a:pt x="607" y="1340"/>
                  </a:lnTo>
                  <a:lnTo>
                    <a:pt x="562" y="1386"/>
                  </a:lnTo>
                  <a:lnTo>
                    <a:pt x="523" y="1437"/>
                  </a:lnTo>
                  <a:lnTo>
                    <a:pt x="487" y="1493"/>
                  </a:lnTo>
                  <a:lnTo>
                    <a:pt x="473" y="1527"/>
                  </a:lnTo>
                  <a:lnTo>
                    <a:pt x="465" y="1561"/>
                  </a:lnTo>
                  <a:lnTo>
                    <a:pt x="462" y="1596"/>
                  </a:lnTo>
                  <a:lnTo>
                    <a:pt x="466" y="1631"/>
                  </a:lnTo>
                  <a:lnTo>
                    <a:pt x="475" y="1665"/>
                  </a:lnTo>
                  <a:lnTo>
                    <a:pt x="490" y="1697"/>
                  </a:lnTo>
                  <a:lnTo>
                    <a:pt x="511" y="1725"/>
                  </a:lnTo>
                  <a:lnTo>
                    <a:pt x="538" y="1751"/>
                  </a:lnTo>
                  <a:lnTo>
                    <a:pt x="566" y="1770"/>
                  </a:lnTo>
                  <a:lnTo>
                    <a:pt x="598" y="1786"/>
                  </a:lnTo>
                  <a:lnTo>
                    <a:pt x="565" y="1801"/>
                  </a:lnTo>
                  <a:lnTo>
                    <a:pt x="534" y="1824"/>
                  </a:lnTo>
                  <a:lnTo>
                    <a:pt x="507" y="1852"/>
                  </a:lnTo>
                  <a:lnTo>
                    <a:pt x="428" y="1817"/>
                  </a:lnTo>
                  <a:lnTo>
                    <a:pt x="358" y="1780"/>
                  </a:lnTo>
                  <a:lnTo>
                    <a:pt x="296" y="1745"/>
                  </a:lnTo>
                  <a:lnTo>
                    <a:pt x="242" y="1708"/>
                  </a:lnTo>
                  <a:lnTo>
                    <a:pt x="194" y="1673"/>
                  </a:lnTo>
                  <a:lnTo>
                    <a:pt x="152" y="1639"/>
                  </a:lnTo>
                  <a:lnTo>
                    <a:pt x="117" y="1606"/>
                  </a:lnTo>
                  <a:lnTo>
                    <a:pt x="89" y="1575"/>
                  </a:lnTo>
                  <a:lnTo>
                    <a:pt x="63" y="1546"/>
                  </a:lnTo>
                  <a:lnTo>
                    <a:pt x="45" y="1521"/>
                  </a:lnTo>
                  <a:lnTo>
                    <a:pt x="30" y="1497"/>
                  </a:lnTo>
                  <a:lnTo>
                    <a:pt x="18" y="1479"/>
                  </a:lnTo>
                  <a:lnTo>
                    <a:pt x="11" y="1463"/>
                  </a:lnTo>
                  <a:lnTo>
                    <a:pt x="6" y="1454"/>
                  </a:lnTo>
                  <a:lnTo>
                    <a:pt x="4" y="1448"/>
                  </a:lnTo>
                  <a:lnTo>
                    <a:pt x="0" y="1430"/>
                  </a:lnTo>
                  <a:lnTo>
                    <a:pt x="0" y="1411"/>
                  </a:lnTo>
                  <a:lnTo>
                    <a:pt x="4" y="1387"/>
                  </a:lnTo>
                  <a:lnTo>
                    <a:pt x="11" y="1355"/>
                  </a:lnTo>
                  <a:lnTo>
                    <a:pt x="18" y="1314"/>
                  </a:lnTo>
                  <a:lnTo>
                    <a:pt x="28" y="1269"/>
                  </a:lnTo>
                  <a:lnTo>
                    <a:pt x="39" y="1217"/>
                  </a:lnTo>
                  <a:lnTo>
                    <a:pt x="52" y="1161"/>
                  </a:lnTo>
                  <a:lnTo>
                    <a:pt x="67" y="1103"/>
                  </a:lnTo>
                  <a:lnTo>
                    <a:pt x="84" y="1041"/>
                  </a:lnTo>
                  <a:lnTo>
                    <a:pt x="104" y="978"/>
                  </a:lnTo>
                  <a:lnTo>
                    <a:pt x="125" y="915"/>
                  </a:lnTo>
                  <a:lnTo>
                    <a:pt x="149" y="853"/>
                  </a:lnTo>
                  <a:lnTo>
                    <a:pt x="176" y="791"/>
                  </a:lnTo>
                  <a:lnTo>
                    <a:pt x="204" y="733"/>
                  </a:lnTo>
                  <a:lnTo>
                    <a:pt x="233" y="677"/>
                  </a:lnTo>
                  <a:lnTo>
                    <a:pt x="267" y="626"/>
                  </a:lnTo>
                  <a:lnTo>
                    <a:pt x="302" y="580"/>
                  </a:lnTo>
                  <a:lnTo>
                    <a:pt x="340" y="540"/>
                  </a:lnTo>
                  <a:lnTo>
                    <a:pt x="381" y="509"/>
                  </a:lnTo>
                  <a:lnTo>
                    <a:pt x="409" y="491"/>
                  </a:lnTo>
                  <a:lnTo>
                    <a:pt x="443" y="469"/>
                  </a:lnTo>
                  <a:lnTo>
                    <a:pt x="483" y="445"/>
                  </a:lnTo>
                  <a:lnTo>
                    <a:pt x="528" y="419"/>
                  </a:lnTo>
                  <a:lnTo>
                    <a:pt x="577" y="390"/>
                  </a:lnTo>
                  <a:lnTo>
                    <a:pt x="629" y="360"/>
                  </a:lnTo>
                  <a:lnTo>
                    <a:pt x="684" y="329"/>
                  </a:lnTo>
                  <a:lnTo>
                    <a:pt x="742" y="297"/>
                  </a:lnTo>
                  <a:lnTo>
                    <a:pt x="801" y="264"/>
                  </a:lnTo>
                  <a:lnTo>
                    <a:pt x="860" y="232"/>
                  </a:lnTo>
                  <a:lnTo>
                    <a:pt x="919" y="200"/>
                  </a:lnTo>
                  <a:lnTo>
                    <a:pt x="978" y="167"/>
                  </a:lnTo>
                  <a:lnTo>
                    <a:pt x="1035" y="136"/>
                  </a:lnTo>
                  <a:lnTo>
                    <a:pt x="1090" y="107"/>
                  </a:lnTo>
                  <a:lnTo>
                    <a:pt x="1142" y="79"/>
                  </a:lnTo>
                  <a:lnTo>
                    <a:pt x="1190" y="52"/>
                  </a:lnTo>
                  <a:lnTo>
                    <a:pt x="1235" y="29"/>
                  </a:lnTo>
                  <a:lnTo>
                    <a:pt x="1274" y="8"/>
                  </a:lnTo>
                  <a:lnTo>
                    <a:pt x="1294" y="0"/>
                  </a:lnTo>
                  <a:lnTo>
                    <a:pt x="13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1213">
              <a:extLst>
                <a:ext uri="{FF2B5EF4-FFF2-40B4-BE49-F238E27FC236}">
                  <a16:creationId xmlns:a16="http://schemas.microsoft.com/office/drawing/2014/main" id="{47611D1A-4917-DA7A-7041-D8338C4FC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" y="5260"/>
              <a:ext cx="1279" cy="428"/>
            </a:xfrm>
            <a:custGeom>
              <a:avLst/>
              <a:gdLst>
                <a:gd name="T0" fmla="*/ 2281 w 2558"/>
                <a:gd name="T1" fmla="*/ 12 h 858"/>
                <a:gd name="T2" fmla="*/ 2419 w 2558"/>
                <a:gd name="T3" fmla="*/ 74 h 858"/>
                <a:gd name="T4" fmla="*/ 2527 w 2558"/>
                <a:gd name="T5" fmla="*/ 178 h 858"/>
                <a:gd name="T6" fmla="*/ 2554 w 2558"/>
                <a:gd name="T7" fmla="*/ 248 h 858"/>
                <a:gd name="T8" fmla="*/ 2538 w 2558"/>
                <a:gd name="T9" fmla="*/ 259 h 858"/>
                <a:gd name="T10" fmla="*/ 2148 w 2558"/>
                <a:gd name="T11" fmla="*/ 269 h 858"/>
                <a:gd name="T12" fmla="*/ 2136 w 2558"/>
                <a:gd name="T13" fmla="*/ 323 h 858"/>
                <a:gd name="T14" fmla="*/ 2131 w 2558"/>
                <a:gd name="T15" fmla="*/ 428 h 858"/>
                <a:gd name="T16" fmla="*/ 2136 w 2558"/>
                <a:gd name="T17" fmla="*/ 534 h 858"/>
                <a:gd name="T18" fmla="*/ 2148 w 2558"/>
                <a:gd name="T19" fmla="*/ 587 h 858"/>
                <a:gd name="T20" fmla="*/ 2532 w 2558"/>
                <a:gd name="T21" fmla="*/ 596 h 858"/>
                <a:gd name="T22" fmla="*/ 2551 w 2558"/>
                <a:gd name="T23" fmla="*/ 603 h 858"/>
                <a:gd name="T24" fmla="*/ 2555 w 2558"/>
                <a:gd name="T25" fmla="*/ 634 h 858"/>
                <a:gd name="T26" fmla="*/ 2459 w 2558"/>
                <a:gd name="T27" fmla="*/ 752 h 858"/>
                <a:gd name="T28" fmla="*/ 2330 w 2558"/>
                <a:gd name="T29" fmla="*/ 829 h 858"/>
                <a:gd name="T30" fmla="*/ 2180 w 2558"/>
                <a:gd name="T31" fmla="*/ 858 h 858"/>
                <a:gd name="T32" fmla="*/ 2063 w 2558"/>
                <a:gd name="T33" fmla="*/ 841 h 858"/>
                <a:gd name="T34" fmla="*/ 1914 w 2558"/>
                <a:gd name="T35" fmla="*/ 765 h 858"/>
                <a:gd name="T36" fmla="*/ 1806 w 2558"/>
                <a:gd name="T37" fmla="*/ 638 h 858"/>
                <a:gd name="T38" fmla="*/ 758 w 2558"/>
                <a:gd name="T39" fmla="*/ 627 h 858"/>
                <a:gd name="T40" fmla="*/ 682 w 2558"/>
                <a:gd name="T41" fmla="*/ 731 h 858"/>
                <a:gd name="T42" fmla="*/ 543 w 2558"/>
                <a:gd name="T43" fmla="*/ 824 h 858"/>
                <a:gd name="T44" fmla="*/ 380 w 2558"/>
                <a:gd name="T45" fmla="*/ 858 h 858"/>
                <a:gd name="T46" fmla="*/ 278 w 2558"/>
                <a:gd name="T47" fmla="*/ 845 h 858"/>
                <a:gd name="T48" fmla="*/ 140 w 2558"/>
                <a:gd name="T49" fmla="*/ 784 h 858"/>
                <a:gd name="T50" fmla="*/ 32 w 2558"/>
                <a:gd name="T51" fmla="*/ 679 h 858"/>
                <a:gd name="T52" fmla="*/ 4 w 2558"/>
                <a:gd name="T53" fmla="*/ 610 h 858"/>
                <a:gd name="T54" fmla="*/ 19 w 2558"/>
                <a:gd name="T55" fmla="*/ 597 h 858"/>
                <a:gd name="T56" fmla="*/ 411 w 2558"/>
                <a:gd name="T57" fmla="*/ 587 h 858"/>
                <a:gd name="T58" fmla="*/ 422 w 2558"/>
                <a:gd name="T59" fmla="*/ 534 h 858"/>
                <a:gd name="T60" fmla="*/ 428 w 2558"/>
                <a:gd name="T61" fmla="*/ 428 h 858"/>
                <a:gd name="T62" fmla="*/ 421 w 2558"/>
                <a:gd name="T63" fmla="*/ 323 h 858"/>
                <a:gd name="T64" fmla="*/ 411 w 2558"/>
                <a:gd name="T65" fmla="*/ 269 h 858"/>
                <a:gd name="T66" fmla="*/ 19 w 2558"/>
                <a:gd name="T67" fmla="*/ 261 h 858"/>
                <a:gd name="T68" fmla="*/ 4 w 2558"/>
                <a:gd name="T69" fmla="*/ 250 h 858"/>
                <a:gd name="T70" fmla="*/ 31 w 2558"/>
                <a:gd name="T71" fmla="*/ 179 h 858"/>
                <a:gd name="T72" fmla="*/ 139 w 2558"/>
                <a:gd name="T73" fmla="*/ 74 h 858"/>
                <a:gd name="T74" fmla="*/ 276 w 2558"/>
                <a:gd name="T75" fmla="*/ 13 h 858"/>
                <a:gd name="T76" fmla="*/ 438 w 2558"/>
                <a:gd name="T77" fmla="*/ 5 h 858"/>
                <a:gd name="T78" fmla="*/ 598 w 2558"/>
                <a:gd name="T79" fmla="*/ 61 h 858"/>
                <a:gd name="T80" fmla="*/ 720 w 2558"/>
                <a:gd name="T81" fmla="*/ 172 h 858"/>
                <a:gd name="T82" fmla="*/ 1782 w 2558"/>
                <a:gd name="T83" fmla="*/ 269 h 858"/>
                <a:gd name="T84" fmla="*/ 1847 w 2558"/>
                <a:gd name="T85" fmla="*/ 158 h 858"/>
                <a:gd name="T86" fmla="*/ 1965 w 2558"/>
                <a:gd name="T87" fmla="*/ 57 h 858"/>
                <a:gd name="T88" fmla="*/ 2122 w 2558"/>
                <a:gd name="T89" fmla="*/ 3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58" h="858">
                  <a:moveTo>
                    <a:pt x="2178" y="0"/>
                  </a:moveTo>
                  <a:lnTo>
                    <a:pt x="2230" y="3"/>
                  </a:lnTo>
                  <a:lnTo>
                    <a:pt x="2281" y="12"/>
                  </a:lnTo>
                  <a:lnTo>
                    <a:pt x="2329" y="27"/>
                  </a:lnTo>
                  <a:lnTo>
                    <a:pt x="2375" y="47"/>
                  </a:lnTo>
                  <a:lnTo>
                    <a:pt x="2419" y="74"/>
                  </a:lnTo>
                  <a:lnTo>
                    <a:pt x="2458" y="103"/>
                  </a:lnTo>
                  <a:lnTo>
                    <a:pt x="2495" y="138"/>
                  </a:lnTo>
                  <a:lnTo>
                    <a:pt x="2527" y="178"/>
                  </a:lnTo>
                  <a:lnTo>
                    <a:pt x="2554" y="223"/>
                  </a:lnTo>
                  <a:lnTo>
                    <a:pt x="2558" y="236"/>
                  </a:lnTo>
                  <a:lnTo>
                    <a:pt x="2554" y="248"/>
                  </a:lnTo>
                  <a:lnTo>
                    <a:pt x="2549" y="252"/>
                  </a:lnTo>
                  <a:lnTo>
                    <a:pt x="2544" y="257"/>
                  </a:lnTo>
                  <a:lnTo>
                    <a:pt x="2538" y="259"/>
                  </a:lnTo>
                  <a:lnTo>
                    <a:pt x="2531" y="261"/>
                  </a:lnTo>
                  <a:lnTo>
                    <a:pt x="2150" y="261"/>
                  </a:lnTo>
                  <a:lnTo>
                    <a:pt x="2148" y="269"/>
                  </a:lnTo>
                  <a:lnTo>
                    <a:pt x="2143" y="283"/>
                  </a:lnTo>
                  <a:lnTo>
                    <a:pt x="2139" y="300"/>
                  </a:lnTo>
                  <a:lnTo>
                    <a:pt x="2136" y="323"/>
                  </a:lnTo>
                  <a:lnTo>
                    <a:pt x="2134" y="351"/>
                  </a:lnTo>
                  <a:lnTo>
                    <a:pt x="2131" y="386"/>
                  </a:lnTo>
                  <a:lnTo>
                    <a:pt x="2131" y="428"/>
                  </a:lnTo>
                  <a:lnTo>
                    <a:pt x="2132" y="471"/>
                  </a:lnTo>
                  <a:lnTo>
                    <a:pt x="2134" y="506"/>
                  </a:lnTo>
                  <a:lnTo>
                    <a:pt x="2136" y="534"/>
                  </a:lnTo>
                  <a:lnTo>
                    <a:pt x="2141" y="556"/>
                  </a:lnTo>
                  <a:lnTo>
                    <a:pt x="2143" y="575"/>
                  </a:lnTo>
                  <a:lnTo>
                    <a:pt x="2148" y="587"/>
                  </a:lnTo>
                  <a:lnTo>
                    <a:pt x="2150" y="596"/>
                  </a:lnTo>
                  <a:lnTo>
                    <a:pt x="2532" y="596"/>
                  </a:lnTo>
                  <a:lnTo>
                    <a:pt x="2532" y="596"/>
                  </a:lnTo>
                  <a:lnTo>
                    <a:pt x="2539" y="596"/>
                  </a:lnTo>
                  <a:lnTo>
                    <a:pt x="2545" y="599"/>
                  </a:lnTo>
                  <a:lnTo>
                    <a:pt x="2551" y="603"/>
                  </a:lnTo>
                  <a:lnTo>
                    <a:pt x="2555" y="608"/>
                  </a:lnTo>
                  <a:lnTo>
                    <a:pt x="2558" y="621"/>
                  </a:lnTo>
                  <a:lnTo>
                    <a:pt x="2555" y="634"/>
                  </a:lnTo>
                  <a:lnTo>
                    <a:pt x="2527" y="677"/>
                  </a:lnTo>
                  <a:lnTo>
                    <a:pt x="2495" y="717"/>
                  </a:lnTo>
                  <a:lnTo>
                    <a:pt x="2459" y="752"/>
                  </a:lnTo>
                  <a:lnTo>
                    <a:pt x="2419" y="783"/>
                  </a:lnTo>
                  <a:lnTo>
                    <a:pt x="2375" y="810"/>
                  </a:lnTo>
                  <a:lnTo>
                    <a:pt x="2330" y="829"/>
                  </a:lnTo>
                  <a:lnTo>
                    <a:pt x="2281" y="845"/>
                  </a:lnTo>
                  <a:lnTo>
                    <a:pt x="2232" y="853"/>
                  </a:lnTo>
                  <a:lnTo>
                    <a:pt x="2180" y="858"/>
                  </a:lnTo>
                  <a:lnTo>
                    <a:pt x="2180" y="858"/>
                  </a:lnTo>
                  <a:lnTo>
                    <a:pt x="2121" y="853"/>
                  </a:lnTo>
                  <a:lnTo>
                    <a:pt x="2063" y="841"/>
                  </a:lnTo>
                  <a:lnTo>
                    <a:pt x="2010" y="822"/>
                  </a:lnTo>
                  <a:lnTo>
                    <a:pt x="1961" y="797"/>
                  </a:lnTo>
                  <a:lnTo>
                    <a:pt x="1914" y="765"/>
                  </a:lnTo>
                  <a:lnTo>
                    <a:pt x="1874" y="727"/>
                  </a:lnTo>
                  <a:lnTo>
                    <a:pt x="1837" y="684"/>
                  </a:lnTo>
                  <a:lnTo>
                    <a:pt x="1806" y="638"/>
                  </a:lnTo>
                  <a:lnTo>
                    <a:pt x="1782" y="587"/>
                  </a:lnTo>
                  <a:lnTo>
                    <a:pt x="776" y="587"/>
                  </a:lnTo>
                  <a:lnTo>
                    <a:pt x="758" y="627"/>
                  </a:lnTo>
                  <a:lnTo>
                    <a:pt x="737" y="663"/>
                  </a:lnTo>
                  <a:lnTo>
                    <a:pt x="712" y="698"/>
                  </a:lnTo>
                  <a:lnTo>
                    <a:pt x="682" y="731"/>
                  </a:lnTo>
                  <a:lnTo>
                    <a:pt x="639" y="769"/>
                  </a:lnTo>
                  <a:lnTo>
                    <a:pt x="592" y="800"/>
                  </a:lnTo>
                  <a:lnTo>
                    <a:pt x="543" y="824"/>
                  </a:lnTo>
                  <a:lnTo>
                    <a:pt x="491" y="842"/>
                  </a:lnTo>
                  <a:lnTo>
                    <a:pt x="436" y="853"/>
                  </a:lnTo>
                  <a:lnTo>
                    <a:pt x="380" y="858"/>
                  </a:lnTo>
                  <a:lnTo>
                    <a:pt x="379" y="858"/>
                  </a:lnTo>
                  <a:lnTo>
                    <a:pt x="327" y="853"/>
                  </a:lnTo>
                  <a:lnTo>
                    <a:pt x="278" y="845"/>
                  </a:lnTo>
                  <a:lnTo>
                    <a:pt x="229" y="829"/>
                  </a:lnTo>
                  <a:lnTo>
                    <a:pt x="184" y="810"/>
                  </a:lnTo>
                  <a:lnTo>
                    <a:pt x="140" y="784"/>
                  </a:lnTo>
                  <a:lnTo>
                    <a:pt x="99" y="753"/>
                  </a:lnTo>
                  <a:lnTo>
                    <a:pt x="64" y="718"/>
                  </a:lnTo>
                  <a:lnTo>
                    <a:pt x="32" y="679"/>
                  </a:lnTo>
                  <a:lnTo>
                    <a:pt x="4" y="635"/>
                  </a:lnTo>
                  <a:lnTo>
                    <a:pt x="1" y="623"/>
                  </a:lnTo>
                  <a:lnTo>
                    <a:pt x="4" y="610"/>
                  </a:lnTo>
                  <a:lnTo>
                    <a:pt x="8" y="604"/>
                  </a:lnTo>
                  <a:lnTo>
                    <a:pt x="14" y="600"/>
                  </a:lnTo>
                  <a:lnTo>
                    <a:pt x="19" y="597"/>
                  </a:lnTo>
                  <a:lnTo>
                    <a:pt x="26" y="597"/>
                  </a:lnTo>
                  <a:lnTo>
                    <a:pt x="408" y="596"/>
                  </a:lnTo>
                  <a:lnTo>
                    <a:pt x="411" y="587"/>
                  </a:lnTo>
                  <a:lnTo>
                    <a:pt x="415" y="575"/>
                  </a:lnTo>
                  <a:lnTo>
                    <a:pt x="418" y="556"/>
                  </a:lnTo>
                  <a:lnTo>
                    <a:pt x="422" y="534"/>
                  </a:lnTo>
                  <a:lnTo>
                    <a:pt x="425" y="506"/>
                  </a:lnTo>
                  <a:lnTo>
                    <a:pt x="427" y="471"/>
                  </a:lnTo>
                  <a:lnTo>
                    <a:pt x="428" y="428"/>
                  </a:lnTo>
                  <a:lnTo>
                    <a:pt x="427" y="386"/>
                  </a:lnTo>
                  <a:lnTo>
                    <a:pt x="425" y="351"/>
                  </a:lnTo>
                  <a:lnTo>
                    <a:pt x="421" y="323"/>
                  </a:lnTo>
                  <a:lnTo>
                    <a:pt x="418" y="300"/>
                  </a:lnTo>
                  <a:lnTo>
                    <a:pt x="414" y="282"/>
                  </a:lnTo>
                  <a:lnTo>
                    <a:pt x="411" y="269"/>
                  </a:lnTo>
                  <a:lnTo>
                    <a:pt x="407" y="261"/>
                  </a:lnTo>
                  <a:lnTo>
                    <a:pt x="26" y="262"/>
                  </a:lnTo>
                  <a:lnTo>
                    <a:pt x="19" y="261"/>
                  </a:lnTo>
                  <a:lnTo>
                    <a:pt x="14" y="258"/>
                  </a:lnTo>
                  <a:lnTo>
                    <a:pt x="8" y="254"/>
                  </a:lnTo>
                  <a:lnTo>
                    <a:pt x="4" y="250"/>
                  </a:lnTo>
                  <a:lnTo>
                    <a:pt x="0" y="237"/>
                  </a:lnTo>
                  <a:lnTo>
                    <a:pt x="4" y="223"/>
                  </a:lnTo>
                  <a:lnTo>
                    <a:pt x="31" y="179"/>
                  </a:lnTo>
                  <a:lnTo>
                    <a:pt x="63" y="140"/>
                  </a:lnTo>
                  <a:lnTo>
                    <a:pt x="99" y="105"/>
                  </a:lnTo>
                  <a:lnTo>
                    <a:pt x="139" y="74"/>
                  </a:lnTo>
                  <a:lnTo>
                    <a:pt x="182" y="48"/>
                  </a:lnTo>
                  <a:lnTo>
                    <a:pt x="229" y="27"/>
                  </a:lnTo>
                  <a:lnTo>
                    <a:pt x="276" y="13"/>
                  </a:lnTo>
                  <a:lnTo>
                    <a:pt x="327" y="3"/>
                  </a:lnTo>
                  <a:lnTo>
                    <a:pt x="379" y="0"/>
                  </a:lnTo>
                  <a:lnTo>
                    <a:pt x="438" y="5"/>
                  </a:lnTo>
                  <a:lnTo>
                    <a:pt x="494" y="16"/>
                  </a:lnTo>
                  <a:lnTo>
                    <a:pt x="547" y="34"/>
                  </a:lnTo>
                  <a:lnTo>
                    <a:pt x="598" y="61"/>
                  </a:lnTo>
                  <a:lnTo>
                    <a:pt x="643" y="92"/>
                  </a:lnTo>
                  <a:lnTo>
                    <a:pt x="685" y="130"/>
                  </a:lnTo>
                  <a:lnTo>
                    <a:pt x="720" y="172"/>
                  </a:lnTo>
                  <a:lnTo>
                    <a:pt x="751" y="219"/>
                  </a:lnTo>
                  <a:lnTo>
                    <a:pt x="776" y="269"/>
                  </a:lnTo>
                  <a:lnTo>
                    <a:pt x="1782" y="269"/>
                  </a:lnTo>
                  <a:lnTo>
                    <a:pt x="1799" y="231"/>
                  </a:lnTo>
                  <a:lnTo>
                    <a:pt x="1822" y="193"/>
                  </a:lnTo>
                  <a:lnTo>
                    <a:pt x="1847" y="158"/>
                  </a:lnTo>
                  <a:lnTo>
                    <a:pt x="1876" y="126"/>
                  </a:lnTo>
                  <a:lnTo>
                    <a:pt x="1919" y="89"/>
                  </a:lnTo>
                  <a:lnTo>
                    <a:pt x="1965" y="57"/>
                  </a:lnTo>
                  <a:lnTo>
                    <a:pt x="2016" y="33"/>
                  </a:lnTo>
                  <a:lnTo>
                    <a:pt x="2067" y="15"/>
                  </a:lnTo>
                  <a:lnTo>
                    <a:pt x="2122" y="3"/>
                  </a:lnTo>
                  <a:lnTo>
                    <a:pt x="21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58" name="Freeform 1489">
            <a:extLst>
              <a:ext uri="{FF2B5EF4-FFF2-40B4-BE49-F238E27FC236}">
                <a16:creationId xmlns:a16="http://schemas.microsoft.com/office/drawing/2014/main" id="{8DB275B9-D927-1355-3CC7-0C4AAA322D9D}"/>
              </a:ext>
            </a:extLst>
          </p:cNvPr>
          <p:cNvSpPr>
            <a:spLocks noEditPoints="1"/>
          </p:cNvSpPr>
          <p:nvPr/>
        </p:nvSpPr>
        <p:spPr bwMode="auto">
          <a:xfrm>
            <a:off x="7160400" y="2615548"/>
            <a:ext cx="272088" cy="240805"/>
          </a:xfrm>
          <a:custGeom>
            <a:avLst/>
            <a:gdLst>
              <a:gd name="T0" fmla="*/ 1724 w 3366"/>
              <a:gd name="T1" fmla="*/ 1859 h 2980"/>
              <a:gd name="T2" fmla="*/ 2365 w 3366"/>
              <a:gd name="T3" fmla="*/ 2383 h 2980"/>
              <a:gd name="T4" fmla="*/ 2690 w 3366"/>
              <a:gd name="T5" fmla="*/ 2208 h 2980"/>
              <a:gd name="T6" fmla="*/ 2690 w 3366"/>
              <a:gd name="T7" fmla="*/ 2389 h 2980"/>
              <a:gd name="T8" fmla="*/ 1724 w 3366"/>
              <a:gd name="T9" fmla="*/ 2980 h 2980"/>
              <a:gd name="T10" fmla="*/ 1724 w 3366"/>
              <a:gd name="T11" fmla="*/ 2980 h 2980"/>
              <a:gd name="T12" fmla="*/ 1724 w 3366"/>
              <a:gd name="T13" fmla="*/ 1859 h 2980"/>
              <a:gd name="T14" fmla="*/ 1642 w 3366"/>
              <a:gd name="T15" fmla="*/ 1859 h 2980"/>
              <a:gd name="T16" fmla="*/ 1642 w 3366"/>
              <a:gd name="T17" fmla="*/ 2980 h 2980"/>
              <a:gd name="T18" fmla="*/ 1642 w 3366"/>
              <a:gd name="T19" fmla="*/ 2980 h 2980"/>
              <a:gd name="T20" fmla="*/ 676 w 3366"/>
              <a:gd name="T21" fmla="*/ 2389 h 2980"/>
              <a:gd name="T22" fmla="*/ 676 w 3366"/>
              <a:gd name="T23" fmla="*/ 2208 h 2980"/>
              <a:gd name="T24" fmla="*/ 1001 w 3366"/>
              <a:gd name="T25" fmla="*/ 2383 h 2980"/>
              <a:gd name="T26" fmla="*/ 1642 w 3366"/>
              <a:gd name="T27" fmla="*/ 1859 h 2980"/>
              <a:gd name="T28" fmla="*/ 2738 w 3366"/>
              <a:gd name="T29" fmla="*/ 1235 h 2980"/>
              <a:gd name="T30" fmla="*/ 3319 w 3366"/>
              <a:gd name="T31" fmla="*/ 1725 h 2980"/>
              <a:gd name="T32" fmla="*/ 2352 w 3366"/>
              <a:gd name="T33" fmla="*/ 2288 h 2980"/>
              <a:gd name="T34" fmla="*/ 1790 w 3366"/>
              <a:gd name="T35" fmla="*/ 1805 h 2980"/>
              <a:gd name="T36" fmla="*/ 2738 w 3366"/>
              <a:gd name="T37" fmla="*/ 1235 h 2980"/>
              <a:gd name="T38" fmla="*/ 629 w 3366"/>
              <a:gd name="T39" fmla="*/ 1235 h 2980"/>
              <a:gd name="T40" fmla="*/ 1576 w 3366"/>
              <a:gd name="T41" fmla="*/ 1805 h 2980"/>
              <a:gd name="T42" fmla="*/ 1015 w 3366"/>
              <a:gd name="T43" fmla="*/ 2288 h 2980"/>
              <a:gd name="T44" fmla="*/ 48 w 3366"/>
              <a:gd name="T45" fmla="*/ 1725 h 2980"/>
              <a:gd name="T46" fmla="*/ 629 w 3366"/>
              <a:gd name="T47" fmla="*/ 1235 h 2980"/>
              <a:gd name="T48" fmla="*/ 2358 w 3366"/>
              <a:gd name="T49" fmla="*/ 0 h 2980"/>
              <a:gd name="T50" fmla="*/ 3366 w 3366"/>
              <a:gd name="T51" fmla="*/ 618 h 2980"/>
              <a:gd name="T52" fmla="*/ 2731 w 3366"/>
              <a:gd name="T53" fmla="*/ 1135 h 2980"/>
              <a:gd name="T54" fmla="*/ 1724 w 3366"/>
              <a:gd name="T55" fmla="*/ 524 h 2980"/>
              <a:gd name="T56" fmla="*/ 2358 w 3366"/>
              <a:gd name="T57" fmla="*/ 0 h 2980"/>
              <a:gd name="T58" fmla="*/ 1008 w 3366"/>
              <a:gd name="T59" fmla="*/ 0 h 2980"/>
              <a:gd name="T60" fmla="*/ 1642 w 3366"/>
              <a:gd name="T61" fmla="*/ 524 h 2980"/>
              <a:gd name="T62" fmla="*/ 635 w 3366"/>
              <a:gd name="T63" fmla="*/ 1135 h 2980"/>
              <a:gd name="T64" fmla="*/ 0 w 3366"/>
              <a:gd name="T65" fmla="*/ 618 h 2980"/>
              <a:gd name="T66" fmla="*/ 1008 w 3366"/>
              <a:gd name="T67" fmla="*/ 0 h 2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366" h="2980">
                <a:moveTo>
                  <a:pt x="1724" y="1859"/>
                </a:moveTo>
                <a:lnTo>
                  <a:pt x="2365" y="2383"/>
                </a:lnTo>
                <a:lnTo>
                  <a:pt x="2690" y="2208"/>
                </a:lnTo>
                <a:lnTo>
                  <a:pt x="2690" y="2389"/>
                </a:lnTo>
                <a:lnTo>
                  <a:pt x="1724" y="2980"/>
                </a:lnTo>
                <a:lnTo>
                  <a:pt x="1724" y="2980"/>
                </a:lnTo>
                <a:lnTo>
                  <a:pt x="1724" y="1859"/>
                </a:lnTo>
                <a:close/>
                <a:moveTo>
                  <a:pt x="1642" y="1859"/>
                </a:moveTo>
                <a:lnTo>
                  <a:pt x="1642" y="2980"/>
                </a:lnTo>
                <a:lnTo>
                  <a:pt x="1642" y="2980"/>
                </a:lnTo>
                <a:lnTo>
                  <a:pt x="676" y="2389"/>
                </a:lnTo>
                <a:lnTo>
                  <a:pt x="676" y="2208"/>
                </a:lnTo>
                <a:lnTo>
                  <a:pt x="1001" y="2383"/>
                </a:lnTo>
                <a:lnTo>
                  <a:pt x="1642" y="1859"/>
                </a:lnTo>
                <a:close/>
                <a:moveTo>
                  <a:pt x="2738" y="1235"/>
                </a:moveTo>
                <a:lnTo>
                  <a:pt x="3319" y="1725"/>
                </a:lnTo>
                <a:lnTo>
                  <a:pt x="2352" y="2288"/>
                </a:lnTo>
                <a:lnTo>
                  <a:pt x="1790" y="1805"/>
                </a:lnTo>
                <a:lnTo>
                  <a:pt x="2738" y="1235"/>
                </a:lnTo>
                <a:close/>
                <a:moveTo>
                  <a:pt x="629" y="1235"/>
                </a:moveTo>
                <a:lnTo>
                  <a:pt x="1576" y="1805"/>
                </a:lnTo>
                <a:lnTo>
                  <a:pt x="1015" y="2288"/>
                </a:lnTo>
                <a:lnTo>
                  <a:pt x="48" y="1725"/>
                </a:lnTo>
                <a:lnTo>
                  <a:pt x="629" y="1235"/>
                </a:lnTo>
                <a:close/>
                <a:moveTo>
                  <a:pt x="2358" y="0"/>
                </a:moveTo>
                <a:lnTo>
                  <a:pt x="3366" y="618"/>
                </a:lnTo>
                <a:lnTo>
                  <a:pt x="2731" y="1135"/>
                </a:lnTo>
                <a:lnTo>
                  <a:pt x="1724" y="524"/>
                </a:lnTo>
                <a:lnTo>
                  <a:pt x="2358" y="0"/>
                </a:lnTo>
                <a:close/>
                <a:moveTo>
                  <a:pt x="1008" y="0"/>
                </a:moveTo>
                <a:lnTo>
                  <a:pt x="1642" y="524"/>
                </a:lnTo>
                <a:lnTo>
                  <a:pt x="635" y="1135"/>
                </a:lnTo>
                <a:lnTo>
                  <a:pt x="0" y="618"/>
                </a:lnTo>
                <a:lnTo>
                  <a:pt x="1008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5249284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7</TotalTime>
  <Words>136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97</cp:revision>
  <dcterms:created xsi:type="dcterms:W3CDTF">2021-03-31T02:49:57Z</dcterms:created>
  <dcterms:modified xsi:type="dcterms:W3CDTF">2025-10-15T03:19:27Z</dcterms:modified>
  <cp:category/>
</cp:coreProperties>
</file>